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</p:sldMasterIdLst>
  <p:notesMasterIdLst>
    <p:notesMasterId r:id="rId34"/>
  </p:notesMasterIdLst>
  <p:sldIdLst>
    <p:sldId id="372" r:id="rId6"/>
    <p:sldId id="323" r:id="rId7"/>
    <p:sldId id="2147483611" r:id="rId8"/>
    <p:sldId id="257" r:id="rId9"/>
    <p:sldId id="373" r:id="rId10"/>
    <p:sldId id="2147483612" r:id="rId11"/>
    <p:sldId id="2306" r:id="rId12"/>
    <p:sldId id="2147375371" r:id="rId13"/>
    <p:sldId id="2003" r:id="rId14"/>
    <p:sldId id="2300" r:id="rId15"/>
    <p:sldId id="1915" r:id="rId16"/>
    <p:sldId id="2236" r:id="rId17"/>
    <p:sldId id="375" r:id="rId18"/>
    <p:sldId id="258" r:id="rId19"/>
    <p:sldId id="16016" r:id="rId20"/>
    <p:sldId id="256" r:id="rId21"/>
    <p:sldId id="262" r:id="rId22"/>
    <p:sldId id="2147483616" r:id="rId23"/>
    <p:sldId id="2147483613" r:id="rId24"/>
    <p:sldId id="2147375374" r:id="rId25"/>
    <p:sldId id="260" r:id="rId26"/>
    <p:sldId id="16023" r:id="rId27"/>
    <p:sldId id="2147375379" r:id="rId28"/>
    <p:sldId id="2147483614" r:id="rId29"/>
    <p:sldId id="2147375380" r:id="rId30"/>
    <p:sldId id="2147483608" r:id="rId31"/>
    <p:sldId id="2147375392" r:id="rId32"/>
    <p:sldId id="2147375386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9320"/>
    <a:srgbClr val="F2F2F2"/>
    <a:srgbClr val="FD7F00"/>
    <a:srgbClr val="1874D2"/>
    <a:srgbClr val="0141CF"/>
    <a:srgbClr val="FD6600"/>
    <a:srgbClr val="FECC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F731F1-E8C1-33DE-D353-28E415167B27}" v="1265" dt="2025-08-18T22:38:33.040"/>
    <p1510:client id="{D7A33CB3-3B11-85AB-C600-8604933830CF}" v="302" dt="2025-08-18T20:34:02.569"/>
    <p1510:client id="{EC9122EF-AA4A-31F5-1310-B3EA0DCDA7E0}" v="28" dt="2025-08-19T06:53:29.774"/>
    <p1510:client id="{F632758D-AC5A-082B-BD68-8F76BF164C24}" v="21" dt="2025-08-19T05:35:45.7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6/11/relationships/changesInfo" Target="changesInfos/changesInfo1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e M. Waita" userId="S::cmueni@kba.co.ke::874d82b4-df7d-4e6b-8df0-91bb520590d1" providerId="AD" clId="Web-{ABF731F1-E8C1-33DE-D353-28E415167B27}"/>
    <pc:docChg chg="addSld delSld modSld">
      <pc:chgData name="Christine M. Waita" userId="S::cmueni@kba.co.ke::874d82b4-df7d-4e6b-8df0-91bb520590d1" providerId="AD" clId="Web-{ABF731F1-E8C1-33DE-D353-28E415167B27}" dt="2025-08-18T22:38:33.040" v="807"/>
      <pc:docMkLst>
        <pc:docMk/>
      </pc:docMkLst>
      <pc:sldChg chg="modSp">
        <pc:chgData name="Christine M. Waita" userId="S::cmueni@kba.co.ke::874d82b4-df7d-4e6b-8df0-91bb520590d1" providerId="AD" clId="Web-{ABF731F1-E8C1-33DE-D353-28E415167B27}" dt="2025-08-18T19:21:06.179" v="408" actId="20577"/>
        <pc:sldMkLst>
          <pc:docMk/>
          <pc:sldMk cId="0" sldId="257"/>
        </pc:sldMkLst>
        <pc:spChg chg="mod">
          <ac:chgData name="Christine M. Waita" userId="S::cmueni@kba.co.ke::874d82b4-df7d-4e6b-8df0-91bb520590d1" providerId="AD" clId="Web-{ABF731F1-E8C1-33DE-D353-28E415167B27}" dt="2025-08-18T19:21:06.179" v="408" actId="20577"/>
          <ac:spMkLst>
            <pc:docMk/>
            <pc:sldMk cId="0" sldId="257"/>
            <ac:spMk id="10" creationId="{00000000-0000-0000-0000-000000000000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18:08:57.922" v="59" actId="20577"/>
        <pc:sldMkLst>
          <pc:docMk/>
          <pc:sldMk cId="3620891702" sldId="258"/>
        </pc:sldMkLst>
        <pc:spChg chg="mod">
          <ac:chgData name="Christine M. Waita" userId="S::cmueni@kba.co.ke::874d82b4-df7d-4e6b-8df0-91bb520590d1" providerId="AD" clId="Web-{ABF731F1-E8C1-33DE-D353-28E415167B27}" dt="2025-08-18T18:04:32.598" v="13" actId="20577"/>
          <ac:spMkLst>
            <pc:docMk/>
            <pc:sldMk cId="3620891702" sldId="258"/>
            <ac:spMk id="25" creationId="{A192C895-231B-444D-8903-167F34691142}"/>
          </ac:spMkLst>
        </pc:spChg>
        <pc:spChg chg="mod">
          <ac:chgData name="Christine M. Waita" userId="S::cmueni@kba.co.ke::874d82b4-df7d-4e6b-8df0-91bb520590d1" providerId="AD" clId="Web-{ABF731F1-E8C1-33DE-D353-28E415167B27}" dt="2025-08-18T18:08:57.922" v="59" actId="20577"/>
          <ac:spMkLst>
            <pc:docMk/>
            <pc:sldMk cId="3620891702" sldId="258"/>
            <ac:spMk id="50" creationId="{DA4A0598-B176-E002-2937-A8569D1BA5EF}"/>
          </ac:spMkLst>
        </pc:spChg>
      </pc:sldChg>
      <pc:sldChg chg="addSp delSp modSp add mod setBg">
        <pc:chgData name="Christine M. Waita" userId="S::cmueni@kba.co.ke::874d82b4-df7d-4e6b-8df0-91bb520590d1" providerId="AD" clId="Web-{ABF731F1-E8C1-33DE-D353-28E415167B27}" dt="2025-08-18T22:27:41.657" v="719" actId="14100"/>
        <pc:sldMkLst>
          <pc:docMk/>
          <pc:sldMk cId="668987468" sldId="262"/>
        </pc:sldMkLst>
        <pc:spChg chg="mod">
          <ac:chgData name="Christine M. Waita" userId="S::cmueni@kba.co.ke::874d82b4-df7d-4e6b-8df0-91bb520590d1" providerId="AD" clId="Web-{ABF731F1-E8C1-33DE-D353-28E415167B27}" dt="2025-08-18T22:18:13.793" v="655" actId="14100"/>
          <ac:spMkLst>
            <pc:docMk/>
            <pc:sldMk cId="668987468" sldId="262"/>
            <ac:spMk id="2" creationId="{EED97424-02C0-457E-9C3D-EACF7B139752}"/>
          </ac:spMkLst>
        </pc:spChg>
        <pc:spChg chg="add del mod">
          <ac:chgData name="Christine M. Waita" userId="S::cmueni@kba.co.ke::874d82b4-df7d-4e6b-8df0-91bb520590d1" providerId="AD" clId="Web-{ABF731F1-E8C1-33DE-D353-28E415167B27}" dt="2025-08-18T22:17:55.933" v="652"/>
          <ac:spMkLst>
            <pc:docMk/>
            <pc:sldMk cId="668987468" sldId="262"/>
            <ac:spMk id="3" creationId="{5C2F31A2-CD68-BFB0-5CDF-071B7CC7C876}"/>
          </ac:spMkLst>
        </pc:spChg>
        <pc:spChg chg="mod">
          <ac:chgData name="Christine M. Waita" userId="S::cmueni@kba.co.ke::874d82b4-df7d-4e6b-8df0-91bb520590d1" providerId="AD" clId="Web-{ABF731F1-E8C1-33DE-D353-28E415167B27}" dt="2025-08-18T22:24:49.760" v="687" actId="20577"/>
          <ac:spMkLst>
            <pc:docMk/>
            <pc:sldMk cId="668987468" sldId="262"/>
            <ac:spMk id="13" creationId="{B0D5D73B-0433-4DB9-9A94-BA4451B5409F}"/>
          </ac:spMkLst>
        </pc:spChg>
        <pc:spChg chg="mod">
          <ac:chgData name="Christine M. Waita" userId="S::cmueni@kba.co.ke::874d82b4-df7d-4e6b-8df0-91bb520590d1" providerId="AD" clId="Web-{ABF731F1-E8C1-33DE-D353-28E415167B27}" dt="2025-08-18T22:25:03.886" v="688" actId="20577"/>
          <ac:spMkLst>
            <pc:docMk/>
            <pc:sldMk cId="668987468" sldId="262"/>
            <ac:spMk id="17" creationId="{3562EC7E-196A-4760-904E-A4E6AFF9B8D6}"/>
          </ac:spMkLst>
        </pc:spChg>
        <pc:spChg chg="mod">
          <ac:chgData name="Christine M. Waita" userId="S::cmueni@kba.co.ke::874d82b4-df7d-4e6b-8df0-91bb520590d1" providerId="AD" clId="Web-{ABF731F1-E8C1-33DE-D353-28E415167B27}" dt="2025-08-18T22:25:43.278" v="694" actId="20577"/>
          <ac:spMkLst>
            <pc:docMk/>
            <pc:sldMk cId="668987468" sldId="262"/>
            <ac:spMk id="22" creationId="{D9C17FF7-B911-4740-A02B-01A8912F4077}"/>
          </ac:spMkLst>
        </pc:spChg>
        <pc:spChg chg="mod">
          <ac:chgData name="Christine M. Waita" userId="S::cmueni@kba.co.ke::874d82b4-df7d-4e6b-8df0-91bb520590d1" providerId="AD" clId="Web-{ABF731F1-E8C1-33DE-D353-28E415167B27}" dt="2025-08-18T22:27:03.031" v="710" actId="20577"/>
          <ac:spMkLst>
            <pc:docMk/>
            <pc:sldMk cId="668987468" sldId="262"/>
            <ac:spMk id="23" creationId="{24E990F4-17A7-43CA-A898-4E1248B4CB1E}"/>
          </ac:spMkLst>
        </pc:spChg>
        <pc:spChg chg="del">
          <ac:chgData name="Christine M. Waita" userId="S::cmueni@kba.co.ke::874d82b4-df7d-4e6b-8df0-91bb520590d1" providerId="AD" clId="Web-{ABF731F1-E8C1-33DE-D353-28E415167B27}" dt="2025-08-18T22:27:18.531" v="712"/>
          <ac:spMkLst>
            <pc:docMk/>
            <pc:sldMk cId="668987468" sldId="262"/>
            <ac:spMk id="24" creationId="{FF25991F-9B2E-4C18-B05F-4C00D05656BF}"/>
          </ac:spMkLst>
        </pc:spChg>
        <pc:spChg chg="mod">
          <ac:chgData name="Christine M. Waita" userId="S::cmueni@kba.co.ke::874d82b4-df7d-4e6b-8df0-91bb520590d1" providerId="AD" clId="Web-{ABF731F1-E8C1-33DE-D353-28E415167B27}" dt="2025-08-18T22:22:24.677" v="667"/>
          <ac:spMkLst>
            <pc:docMk/>
            <pc:sldMk cId="668987468" sldId="262"/>
            <ac:spMk id="29" creationId="{41B91872-E1D1-4276-B330-DF8008FF1A52}"/>
          </ac:spMkLst>
        </pc:spChg>
        <pc:spChg chg="mod">
          <ac:chgData name="Christine M. Waita" userId="S::cmueni@kba.co.ke::874d82b4-df7d-4e6b-8df0-91bb520590d1" providerId="AD" clId="Web-{ABF731F1-E8C1-33DE-D353-28E415167B27}" dt="2025-08-18T22:22:24.677" v="668"/>
          <ac:spMkLst>
            <pc:docMk/>
            <pc:sldMk cId="668987468" sldId="262"/>
            <ac:spMk id="30" creationId="{3170E504-9743-414E-8F0F-55BB1D763182}"/>
          </ac:spMkLst>
        </pc:spChg>
        <pc:spChg chg="mod">
          <ac:chgData name="Christine M. Waita" userId="S::cmueni@kba.co.ke::874d82b4-df7d-4e6b-8df0-91bb520590d1" providerId="AD" clId="Web-{ABF731F1-E8C1-33DE-D353-28E415167B27}" dt="2025-08-18T22:22:24.677" v="669"/>
          <ac:spMkLst>
            <pc:docMk/>
            <pc:sldMk cId="668987468" sldId="262"/>
            <ac:spMk id="31" creationId="{37694ABC-C8F2-4E59-903A-AE821B9EB0D9}"/>
          </ac:spMkLst>
        </pc:spChg>
        <pc:spChg chg="mod">
          <ac:chgData name="Christine M. Waita" userId="S::cmueni@kba.co.ke::874d82b4-df7d-4e6b-8df0-91bb520590d1" providerId="AD" clId="Web-{ABF731F1-E8C1-33DE-D353-28E415167B27}" dt="2025-08-18T22:22:24.724" v="670"/>
          <ac:spMkLst>
            <pc:docMk/>
            <pc:sldMk cId="668987468" sldId="262"/>
            <ac:spMk id="32" creationId="{96D65F80-3AE7-4136-ADA2-3A35CC0956C3}"/>
          </ac:spMkLst>
        </pc:spChg>
        <pc:spChg chg="mod">
          <ac:chgData name="Christine M. Waita" userId="S::cmueni@kba.co.ke::874d82b4-df7d-4e6b-8df0-91bb520590d1" providerId="AD" clId="Web-{ABF731F1-E8C1-33DE-D353-28E415167B27}" dt="2025-08-18T22:23:14.241" v="673"/>
          <ac:spMkLst>
            <pc:docMk/>
            <pc:sldMk cId="668987468" sldId="262"/>
            <ac:spMk id="37" creationId="{EECDC7A6-E89C-4ED6-BCDF-121301E2E17F}"/>
          </ac:spMkLst>
        </pc:spChg>
        <pc:spChg chg="mod">
          <ac:chgData name="Christine M. Waita" userId="S::cmueni@kba.co.ke::874d82b4-df7d-4e6b-8df0-91bb520590d1" providerId="AD" clId="Web-{ABF731F1-E8C1-33DE-D353-28E415167B27}" dt="2025-08-18T22:23:14.241" v="674"/>
          <ac:spMkLst>
            <pc:docMk/>
            <pc:sldMk cId="668987468" sldId="262"/>
            <ac:spMk id="38" creationId="{86FB7764-BFD9-4BCC-8478-54C8E6947EE6}"/>
          </ac:spMkLst>
        </pc:spChg>
        <pc:spChg chg="mod">
          <ac:chgData name="Christine M. Waita" userId="S::cmueni@kba.co.ke::874d82b4-df7d-4e6b-8df0-91bb520590d1" providerId="AD" clId="Web-{ABF731F1-E8C1-33DE-D353-28E415167B27}" dt="2025-08-18T22:23:14.241" v="675"/>
          <ac:spMkLst>
            <pc:docMk/>
            <pc:sldMk cId="668987468" sldId="262"/>
            <ac:spMk id="39" creationId="{93235A6C-C0DF-42C5-94B9-D8B6DE452E9B}"/>
          </ac:spMkLst>
        </pc:spChg>
        <pc:spChg chg="mod">
          <ac:chgData name="Christine M. Waita" userId="S::cmueni@kba.co.ke::874d82b4-df7d-4e6b-8df0-91bb520590d1" providerId="AD" clId="Web-{ABF731F1-E8C1-33DE-D353-28E415167B27}" dt="2025-08-18T22:23:14.273" v="676"/>
          <ac:spMkLst>
            <pc:docMk/>
            <pc:sldMk cId="668987468" sldId="262"/>
            <ac:spMk id="40" creationId="{1D23970A-668A-4688-A4B9-46E0A8F573A1}"/>
          </ac:spMkLst>
        </pc:spChg>
        <pc:spChg chg="mod">
          <ac:chgData name="Christine M. Waita" userId="S::cmueni@kba.co.ke::874d82b4-df7d-4e6b-8df0-91bb520590d1" providerId="AD" clId="Web-{ABF731F1-E8C1-33DE-D353-28E415167B27}" dt="2025-08-18T22:24:02.399" v="679" actId="20577"/>
          <ac:spMkLst>
            <pc:docMk/>
            <pc:sldMk cId="668987468" sldId="262"/>
            <ac:spMk id="41" creationId="{54E52BD3-5FC5-4958-BC4F-254764CB34B4}"/>
          </ac:spMkLst>
        </pc:spChg>
        <pc:spChg chg="mod">
          <ac:chgData name="Christine M. Waita" userId="S::cmueni@kba.co.ke::874d82b4-df7d-4e6b-8df0-91bb520590d1" providerId="AD" clId="Web-{ABF731F1-E8C1-33DE-D353-28E415167B27}" dt="2025-08-18T22:24:30.213" v="685" actId="20577"/>
          <ac:spMkLst>
            <pc:docMk/>
            <pc:sldMk cId="668987468" sldId="262"/>
            <ac:spMk id="43" creationId="{A4AA6BBA-6CED-4BC6-817D-98501BC47751}"/>
          </ac:spMkLst>
        </pc:spChg>
        <pc:spChg chg="mod">
          <ac:chgData name="Christine M. Waita" userId="S::cmueni@kba.co.ke::874d82b4-df7d-4e6b-8df0-91bb520590d1" providerId="AD" clId="Web-{ABF731F1-E8C1-33DE-D353-28E415167B27}" dt="2025-08-18T22:25:48.216" v="695" actId="20577"/>
          <ac:spMkLst>
            <pc:docMk/>
            <pc:sldMk cId="668987468" sldId="262"/>
            <ac:spMk id="44" creationId="{14F0080A-1831-491D-80D0-6285757F5A86}"/>
          </ac:spMkLst>
        </pc:spChg>
        <pc:spChg chg="mod">
          <ac:chgData name="Christine M. Waita" userId="S::cmueni@kba.co.ke::874d82b4-df7d-4e6b-8df0-91bb520590d1" providerId="AD" clId="Web-{ABF731F1-E8C1-33DE-D353-28E415167B27}" dt="2025-08-18T22:27:41.657" v="719" actId="14100"/>
          <ac:spMkLst>
            <pc:docMk/>
            <pc:sldMk cId="668987468" sldId="262"/>
            <ac:spMk id="45" creationId="{D0964F04-A78C-44E6-B972-25C48E6E7EC7}"/>
          </ac:spMkLst>
        </pc:spChg>
        <pc:spChg chg="del">
          <ac:chgData name="Christine M. Waita" userId="S::cmueni@kba.co.ke::874d82b4-df7d-4e6b-8df0-91bb520590d1" providerId="AD" clId="Web-{ABF731F1-E8C1-33DE-D353-28E415167B27}" dt="2025-08-18T22:27:23.094" v="713"/>
          <ac:spMkLst>
            <pc:docMk/>
            <pc:sldMk cId="668987468" sldId="262"/>
            <ac:spMk id="46" creationId="{FB95A4BA-B40D-461F-A703-9D65D4B92E0B}"/>
          </ac:spMkLst>
        </pc:spChg>
        <pc:spChg chg="del">
          <ac:chgData name="Christine M. Waita" userId="S::cmueni@kba.co.ke::874d82b4-df7d-4e6b-8df0-91bb520590d1" providerId="AD" clId="Web-{ABF731F1-E8C1-33DE-D353-28E415167B27}" dt="2025-08-18T22:27:16.141" v="711"/>
          <ac:spMkLst>
            <pc:docMk/>
            <pc:sldMk cId="668987468" sldId="262"/>
            <ac:spMk id="47" creationId="{CF777CB9-F03A-4954-8394-4B8DB739CC1D}"/>
          </ac:spMkLst>
        </pc:spChg>
        <pc:grpChg chg="del">
          <ac:chgData name="Christine M. Waita" userId="S::cmueni@kba.co.ke::874d82b4-df7d-4e6b-8df0-91bb520590d1" providerId="AD" clId="Web-{ABF731F1-E8C1-33DE-D353-28E415167B27}" dt="2025-08-18T22:19:08.936" v="659"/>
          <ac:grpSpMkLst>
            <pc:docMk/>
            <pc:sldMk cId="668987468" sldId="262"/>
            <ac:grpSpMk id="25" creationId="{B77A1C23-CD7F-42CB-BD5E-29685EDCE57A}"/>
          </ac:grpSpMkLst>
        </pc:grpChg>
        <pc:picChg chg="add mod">
          <ac:chgData name="Christine M. Waita" userId="S::cmueni@kba.co.ke::874d82b4-df7d-4e6b-8df0-91bb520590d1" providerId="AD" clId="Web-{ABF731F1-E8C1-33DE-D353-28E415167B27}" dt="2025-08-18T22:19:11.889" v="660" actId="1076"/>
          <ac:picMkLst>
            <pc:docMk/>
            <pc:sldMk cId="668987468" sldId="262"/>
            <ac:picMk id="5" creationId="{8C829D92-FD7C-C6FC-3BE6-4A7723C03273}"/>
          </ac:picMkLst>
        </pc:picChg>
      </pc:sldChg>
      <pc:sldChg chg="del">
        <pc:chgData name="Christine M. Waita" userId="S::cmueni@kba.co.ke::874d82b4-df7d-4e6b-8df0-91bb520590d1" providerId="AD" clId="Web-{ABF731F1-E8C1-33DE-D353-28E415167B27}" dt="2025-08-18T18:01:31.482" v="4"/>
        <pc:sldMkLst>
          <pc:docMk/>
          <pc:sldMk cId="0" sldId="266"/>
        </pc:sldMkLst>
      </pc:sldChg>
      <pc:sldChg chg="modSp">
        <pc:chgData name="Christine M. Waita" userId="S::cmueni@kba.co.ke::874d82b4-df7d-4e6b-8df0-91bb520590d1" providerId="AD" clId="Web-{ABF731F1-E8C1-33DE-D353-28E415167B27}" dt="2025-08-18T19:41:33.567" v="545" actId="14100"/>
        <pc:sldMkLst>
          <pc:docMk/>
          <pc:sldMk cId="2702357505" sldId="373"/>
        </pc:sldMkLst>
        <pc:spChg chg="mod">
          <ac:chgData name="Christine M. Waita" userId="S::cmueni@kba.co.ke::874d82b4-df7d-4e6b-8df0-91bb520590d1" providerId="AD" clId="Web-{ABF731F1-E8C1-33DE-D353-28E415167B27}" dt="2025-08-18T19:41:33.567" v="545" actId="14100"/>
          <ac:spMkLst>
            <pc:docMk/>
            <pc:sldMk cId="2702357505" sldId="373"/>
            <ac:spMk id="27" creationId="{523B3300-6EF4-A178-F4E5-E0CD64A52724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19:58:27.478" v="559" actId="1076"/>
        <pc:sldMkLst>
          <pc:docMk/>
          <pc:sldMk cId="2421190200" sldId="375"/>
        </pc:sldMkLst>
        <pc:graphicFrameChg chg="mod">
          <ac:chgData name="Christine M. Waita" userId="S::cmueni@kba.co.ke::874d82b4-df7d-4e6b-8df0-91bb520590d1" providerId="AD" clId="Web-{ABF731F1-E8C1-33DE-D353-28E415167B27}" dt="2025-08-18T19:58:27.478" v="559" actId="1076"/>
          <ac:graphicFrameMkLst>
            <pc:docMk/>
            <pc:sldMk cId="2421190200" sldId="375"/>
            <ac:graphicFrameMk id="6" creationId="{43E5D510-975A-B7F8-E569-2AE51FBE1855}"/>
          </ac:graphicFrameMkLst>
        </pc:graphicFrameChg>
      </pc:sldChg>
      <pc:sldChg chg="modSp">
        <pc:chgData name="Christine M. Waita" userId="S::cmueni@kba.co.ke::874d82b4-df7d-4e6b-8df0-91bb520590d1" providerId="AD" clId="Web-{ABF731F1-E8C1-33DE-D353-28E415167B27}" dt="2025-08-18T19:52:25.075" v="556" actId="1076"/>
        <pc:sldMkLst>
          <pc:docMk/>
          <pc:sldMk cId="777849008" sldId="2003"/>
        </pc:sldMkLst>
        <pc:spChg chg="mod">
          <ac:chgData name="Christine M. Waita" userId="S::cmueni@kba.co.ke::874d82b4-df7d-4e6b-8df0-91bb520590d1" providerId="AD" clId="Web-{ABF731F1-E8C1-33DE-D353-28E415167B27}" dt="2025-08-18T19:52:25.075" v="556" actId="1076"/>
          <ac:spMkLst>
            <pc:docMk/>
            <pc:sldMk cId="777849008" sldId="2003"/>
            <ac:spMk id="2" creationId="{728CFD3E-B949-DAAB-6FD9-9AF54A351906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19:53:20.545" v="558" actId="1076"/>
        <pc:sldMkLst>
          <pc:docMk/>
          <pc:sldMk cId="1355397241" sldId="2300"/>
        </pc:sldMkLst>
        <pc:spChg chg="mod">
          <ac:chgData name="Christine M. Waita" userId="S::cmueni@kba.co.ke::874d82b4-df7d-4e6b-8df0-91bb520590d1" providerId="AD" clId="Web-{ABF731F1-E8C1-33DE-D353-28E415167B27}" dt="2025-08-18T19:53:20.545" v="558" actId="1076"/>
          <ac:spMkLst>
            <pc:docMk/>
            <pc:sldMk cId="1355397241" sldId="2300"/>
            <ac:spMk id="2" creationId="{728CFD3E-B949-DAAB-6FD9-9AF54A351906}"/>
          </ac:spMkLst>
        </pc:spChg>
        <pc:spChg chg="mod">
          <ac:chgData name="Christine M. Waita" userId="S::cmueni@kba.co.ke::874d82b4-df7d-4e6b-8df0-91bb520590d1" providerId="AD" clId="Web-{ABF731F1-E8C1-33DE-D353-28E415167B27}" dt="2025-08-18T19:53:05.670" v="557" actId="1076"/>
          <ac:spMkLst>
            <pc:docMk/>
            <pc:sldMk cId="1355397241" sldId="2300"/>
            <ac:spMk id="8" creationId="{E03B8D08-2490-BEE1-1B8F-5F05CA6BEE7A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19:51:29.432" v="555" actId="20577"/>
        <pc:sldMkLst>
          <pc:docMk/>
          <pc:sldMk cId="981349596" sldId="2306"/>
        </pc:sldMkLst>
        <pc:spChg chg="mod">
          <ac:chgData name="Christine M. Waita" userId="S::cmueni@kba.co.ke::874d82b4-df7d-4e6b-8df0-91bb520590d1" providerId="AD" clId="Web-{ABF731F1-E8C1-33DE-D353-28E415167B27}" dt="2025-08-18T19:51:29.432" v="555" actId="20577"/>
          <ac:spMkLst>
            <pc:docMk/>
            <pc:sldMk cId="981349596" sldId="2306"/>
            <ac:spMk id="5" creationId="{7E5A25E7-8098-6693-82A4-06E82BD7463B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18:01:24.169" v="3" actId="20577"/>
        <pc:sldMkLst>
          <pc:docMk/>
          <pc:sldMk cId="2157407003" sldId="16016"/>
        </pc:sldMkLst>
        <pc:spChg chg="mod">
          <ac:chgData name="Christine M. Waita" userId="S::cmueni@kba.co.ke::874d82b4-df7d-4e6b-8df0-91bb520590d1" providerId="AD" clId="Web-{ABF731F1-E8C1-33DE-D353-28E415167B27}" dt="2025-08-18T18:01:24.169" v="3" actId="20577"/>
          <ac:spMkLst>
            <pc:docMk/>
            <pc:sldMk cId="2157407003" sldId="16016"/>
            <ac:spMk id="61" creationId="{A0AF9A24-9309-76C5-F5E1-7BB2E930143E}"/>
          </ac:spMkLst>
        </pc:spChg>
      </pc:sldChg>
      <pc:sldChg chg="modSp">
        <pc:chgData name="Christine M. Waita" userId="S::cmueni@kba.co.ke::874d82b4-df7d-4e6b-8df0-91bb520590d1" providerId="AD" clId="Web-{ABF731F1-E8C1-33DE-D353-28E415167B27}" dt="2025-08-18T20:26:24.257" v="618"/>
        <pc:sldMkLst>
          <pc:docMk/>
          <pc:sldMk cId="4211040212" sldId="16023"/>
        </pc:sldMkLst>
        <pc:graphicFrameChg chg="mod modGraphic">
          <ac:chgData name="Christine M. Waita" userId="S::cmueni@kba.co.ke::874d82b4-df7d-4e6b-8df0-91bb520590d1" providerId="AD" clId="Web-{ABF731F1-E8C1-33DE-D353-28E415167B27}" dt="2025-08-18T20:26:24.257" v="618"/>
          <ac:graphicFrameMkLst>
            <pc:docMk/>
            <pc:sldMk cId="4211040212" sldId="16023"/>
            <ac:graphicFrameMk id="14" creationId="{2AD218E6-99E0-6341-D892-AF47A295D1E6}"/>
          </ac:graphicFrameMkLst>
        </pc:graphicFrameChg>
      </pc:sldChg>
      <pc:sldChg chg="del">
        <pc:chgData name="Christine M. Waita" userId="S::cmueni@kba.co.ke::874d82b4-df7d-4e6b-8df0-91bb520590d1" providerId="AD" clId="Web-{ABF731F1-E8C1-33DE-D353-28E415167B27}" dt="2025-08-18T20:39:46.504" v="619"/>
        <pc:sldMkLst>
          <pc:docMk/>
          <pc:sldMk cId="1380367508" sldId="2147483609"/>
        </pc:sldMkLst>
      </pc:sldChg>
      <pc:sldChg chg="addSp delSp modSp add del replId">
        <pc:chgData name="Christine M. Waita" userId="S::cmueni@kba.co.ke::874d82b4-df7d-4e6b-8df0-91bb520590d1" providerId="AD" clId="Web-{ABF731F1-E8C1-33DE-D353-28E415167B27}" dt="2025-08-18T22:38:33.040" v="807"/>
        <pc:sldMkLst>
          <pc:docMk/>
          <pc:sldMk cId="365253891" sldId="2147483615"/>
        </pc:sldMkLst>
        <pc:spChg chg="mod">
          <ac:chgData name="Christine M. Waita" userId="S::cmueni@kba.co.ke::874d82b4-df7d-4e6b-8df0-91bb520590d1" providerId="AD" clId="Web-{ABF731F1-E8C1-33DE-D353-28E415167B27}" dt="2025-08-18T19:03:20.751" v="327" actId="1076"/>
          <ac:spMkLst>
            <pc:docMk/>
            <pc:sldMk cId="365253891" sldId="2147483615"/>
            <ac:spMk id="2" creationId="{DFB790B5-2DA6-54D0-7573-BB373106620C}"/>
          </ac:spMkLst>
        </pc:spChg>
        <pc:spChg chg="add mod">
          <ac:chgData name="Christine M. Waita" userId="S::cmueni@kba.co.ke::874d82b4-df7d-4e6b-8df0-91bb520590d1" providerId="AD" clId="Web-{ABF731F1-E8C1-33DE-D353-28E415167B27}" dt="2025-08-18T22:28:54.879" v="741" actId="20577"/>
          <ac:spMkLst>
            <pc:docMk/>
            <pc:sldMk cId="365253891" sldId="2147483615"/>
            <ac:spMk id="3" creationId="{39E2BF77-710B-2714-6B1F-72BEF2B6D14D}"/>
          </ac:spMkLst>
        </pc:spChg>
        <pc:spChg chg="add mod">
          <ac:chgData name="Christine M. Waita" userId="S::cmueni@kba.co.ke::874d82b4-df7d-4e6b-8df0-91bb520590d1" providerId="AD" clId="Web-{ABF731F1-E8C1-33DE-D353-28E415167B27}" dt="2025-08-18T21:42:38.920" v="631" actId="20577"/>
          <ac:spMkLst>
            <pc:docMk/>
            <pc:sldMk cId="365253891" sldId="2147483615"/>
            <ac:spMk id="6" creationId="{51E45045-34D2-1D92-F4BB-90CAA52C5867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48.992" v="111"/>
          <ac:spMkLst>
            <pc:docMk/>
            <pc:sldMk cId="365253891" sldId="2147483615"/>
            <ac:spMk id="6" creationId="{FE0FB45B-E13B-27EE-08BA-0A2978438117}"/>
          </ac:spMkLst>
        </pc:spChg>
        <pc:spChg chg="add mod ord">
          <ac:chgData name="Christine M. Waita" userId="S::cmueni@kba.co.ke::874d82b4-df7d-4e6b-8df0-91bb520590d1" providerId="AD" clId="Web-{ABF731F1-E8C1-33DE-D353-28E415167B27}" dt="2025-08-18T22:07:18.426" v="634"/>
          <ac:spMkLst>
            <pc:docMk/>
            <pc:sldMk cId="365253891" sldId="2147483615"/>
            <ac:spMk id="7" creationId="{0EC5E2B9-4250-E5D6-3B0B-6C9FE9E608DD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22.895" v="102"/>
          <ac:spMkLst>
            <pc:docMk/>
            <pc:sldMk cId="365253891" sldId="2147483615"/>
            <ac:spMk id="7" creationId="{19918FFF-0600-980D-3E06-9254907893DB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27.288" v="104"/>
          <ac:spMkLst>
            <pc:docMk/>
            <pc:sldMk cId="365253891" sldId="2147483615"/>
            <ac:spMk id="8" creationId="{E42897BB-B17E-CFCF-9797-E0DF9C916304}"/>
          </ac:spMkLst>
        </pc:spChg>
        <pc:spChg chg="del mod">
          <ac:chgData name="Christine M. Waita" userId="S::cmueni@kba.co.ke::874d82b4-df7d-4e6b-8df0-91bb520590d1" providerId="AD" clId="Web-{ABF731F1-E8C1-33DE-D353-28E415167B27}" dt="2025-08-18T18:24:55.101" v="113"/>
          <ac:spMkLst>
            <pc:docMk/>
            <pc:sldMk cId="365253891" sldId="2147483615"/>
            <ac:spMk id="9" creationId="{020C7512-DE88-44BA-6E49-715FFF2C15B7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10.024" v="118"/>
          <ac:spMkLst>
            <pc:docMk/>
            <pc:sldMk cId="365253891" sldId="2147483615"/>
            <ac:spMk id="12" creationId="{34EFD88C-F219-D4CB-7D93-CD33E4F80C0C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15.176" v="101"/>
          <ac:spMkLst>
            <pc:docMk/>
            <pc:sldMk cId="365253891" sldId="2147483615"/>
            <ac:spMk id="14" creationId="{381BB685-6932-14CD-740E-701B09EDE80F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12.087" v="119"/>
          <ac:spMkLst>
            <pc:docMk/>
            <pc:sldMk cId="365253891" sldId="2147483615"/>
            <ac:spMk id="15" creationId="{0689626E-9BC5-4922-CFA1-9AF1C1CE5F56}"/>
          </ac:spMkLst>
        </pc:spChg>
        <pc:spChg chg="del mod">
          <ac:chgData name="Christine M. Waita" userId="S::cmueni@kba.co.ke::874d82b4-df7d-4e6b-8df0-91bb520590d1" providerId="AD" clId="Web-{ABF731F1-E8C1-33DE-D353-28E415167B27}" dt="2025-08-18T18:43:58.646" v="148"/>
          <ac:spMkLst>
            <pc:docMk/>
            <pc:sldMk cId="365253891" sldId="2147483615"/>
            <ac:spMk id="16" creationId="{47AF7F08-4D70-F452-5B87-1A7A01954077}"/>
          </ac:spMkLst>
        </pc:spChg>
        <pc:spChg chg="mod">
          <ac:chgData name="Christine M. Waita" userId="S::cmueni@kba.co.ke::874d82b4-df7d-4e6b-8df0-91bb520590d1" providerId="AD" clId="Web-{ABF731F1-E8C1-33DE-D353-28E415167B27}" dt="2025-08-18T19:02:48.718" v="323" actId="14100"/>
          <ac:spMkLst>
            <pc:docMk/>
            <pc:sldMk cId="365253891" sldId="2147483615"/>
            <ac:spMk id="18" creationId="{77852E55-8C91-B9A4-B3BF-0BC3F3AE3653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45.565" v="89"/>
          <ac:spMkLst>
            <pc:docMk/>
            <pc:sldMk cId="365253891" sldId="2147483615"/>
            <ac:spMk id="19" creationId="{857EE734-F30D-9077-9361-F97A6E7D8B96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44.096" v="88"/>
          <ac:spMkLst>
            <pc:docMk/>
            <pc:sldMk cId="365253891" sldId="2147483615"/>
            <ac:spMk id="20" creationId="{DFC88F98-A55F-7B59-4B08-B20DDDE82149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50.409" v="92"/>
          <ac:spMkLst>
            <pc:docMk/>
            <pc:sldMk cId="365253891" sldId="2147483615"/>
            <ac:spMk id="48" creationId="{5E81002E-C424-D3C6-AF63-92B7C9D182AB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06.644" v="97"/>
          <ac:spMkLst>
            <pc:docMk/>
            <pc:sldMk cId="365253891" sldId="2147483615"/>
            <ac:spMk id="50" creationId="{808C22BE-4DFC-0511-90F1-45006EA4AD1D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51.956" v="93"/>
          <ac:spMkLst>
            <pc:docMk/>
            <pc:sldMk cId="365253891" sldId="2147483615"/>
            <ac:spMk id="51" creationId="{2E4EB51E-4378-00D9-85D4-CDD07FE872E2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05.159" v="96"/>
          <ac:spMkLst>
            <pc:docMk/>
            <pc:sldMk cId="365253891" sldId="2147483615"/>
            <ac:spMk id="53" creationId="{DE41AA0A-0341-8A95-81AE-BC777FFECEA5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26.301" v="103"/>
          <ac:spMkLst>
            <pc:docMk/>
            <pc:sldMk cId="365253891" sldId="2147483615"/>
            <ac:spMk id="56" creationId="{AD3490E6-6247-5DF5-47ED-0B486EA48C93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49.221" v="91"/>
          <ac:spMkLst>
            <pc:docMk/>
            <pc:sldMk cId="365253891" sldId="2147483615"/>
            <ac:spMk id="57" creationId="{3CFDE5FC-562B-92B2-3DAB-680810BDB624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57.213" v="138"/>
          <ac:spMkLst>
            <pc:docMk/>
            <pc:sldMk cId="365253891" sldId="2147483615"/>
            <ac:spMk id="58" creationId="{37F0A1D3-9808-4E76-ED47-008DC88C9759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54.870" v="137"/>
          <ac:spMkLst>
            <pc:docMk/>
            <pc:sldMk cId="365253891" sldId="2147483615"/>
            <ac:spMk id="59" creationId="{5985A47C-FD28-615E-2A2B-79496EFBC719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34.728" v="130"/>
          <ac:spMkLst>
            <pc:docMk/>
            <pc:sldMk cId="365253891" sldId="2147483615"/>
            <ac:spMk id="62" creationId="{43CF2A81-0241-4BBD-9EBC-8458A04CBE3B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33.041" v="129"/>
          <ac:spMkLst>
            <pc:docMk/>
            <pc:sldMk cId="365253891" sldId="2147483615"/>
            <ac:spMk id="63" creationId="{8B2B86F0-E2BC-A303-2B27-95567270B9D4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30.869" v="128"/>
          <ac:spMkLst>
            <pc:docMk/>
            <pc:sldMk cId="365253891" sldId="2147483615"/>
            <ac:spMk id="64" creationId="{250735BA-EBED-1F6F-A215-C41EA2E29D51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26.806" v="126"/>
          <ac:spMkLst>
            <pc:docMk/>
            <pc:sldMk cId="365253891" sldId="2147483615"/>
            <ac:spMk id="65" creationId="{DC511237-7AB2-F354-7117-B85B5A75DF4E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48.197" v="134"/>
          <ac:spMkLst>
            <pc:docMk/>
            <pc:sldMk cId="365253891" sldId="2147483615"/>
            <ac:spMk id="66" creationId="{87EF02DC-450C-E687-B4AA-9B81AF24628B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28.759" v="127"/>
          <ac:spMkLst>
            <pc:docMk/>
            <pc:sldMk cId="365253891" sldId="2147483615"/>
            <ac:spMk id="67" creationId="{90680772-E305-8D43-19ED-C84D0385B724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11.863" v="100"/>
          <ac:spMkLst>
            <pc:docMk/>
            <pc:sldMk cId="365253891" sldId="2147483615"/>
            <ac:spMk id="68" creationId="{C85C6BB9-9DB5-E6E4-AFE2-8F8784C42E66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45.791" v="133"/>
          <ac:spMkLst>
            <pc:docMk/>
            <pc:sldMk cId="365253891" sldId="2147483615"/>
            <ac:spMk id="69" creationId="{489AFA3A-501E-F8BC-F62B-43427F01EF3A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10.129" v="99"/>
          <ac:spMkLst>
            <pc:docMk/>
            <pc:sldMk cId="365253891" sldId="2147483615"/>
            <ac:spMk id="70" creationId="{F80D3DEC-B28D-6276-7FA9-76B69A16A77D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38.744" v="132"/>
          <ac:spMkLst>
            <pc:docMk/>
            <pc:sldMk cId="365253891" sldId="2147483615"/>
            <ac:spMk id="71" creationId="{D5217964-81B8-5529-9054-937D51E2DFA3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05.649" v="117"/>
          <ac:spMkLst>
            <pc:docMk/>
            <pc:sldMk cId="365253891" sldId="2147483615"/>
            <ac:spMk id="72" creationId="{E462027E-289B-202E-6CBA-08F4A08544DD}"/>
          </ac:spMkLst>
        </pc:spChg>
        <pc:spChg chg="del">
          <ac:chgData name="Christine M. Waita" userId="S::cmueni@kba.co.ke::874d82b4-df7d-4e6b-8df0-91bb520590d1" providerId="AD" clId="Web-{ABF731F1-E8C1-33DE-D353-28E415167B27}" dt="2025-08-18T18:23:08.425" v="98"/>
          <ac:spMkLst>
            <pc:docMk/>
            <pc:sldMk cId="365253891" sldId="2147483615"/>
            <ac:spMk id="73" creationId="{51C5965B-2762-AD09-4402-884EA81D6F75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02.151" v="140"/>
          <ac:spMkLst>
            <pc:docMk/>
            <pc:sldMk cId="365253891" sldId="2147483615"/>
            <ac:spMk id="74" creationId="{EAF96780-8C37-7BDF-8E48-26FF4502D16A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50.635" v="135"/>
          <ac:spMkLst>
            <pc:docMk/>
            <pc:sldMk cId="365253891" sldId="2147483615"/>
            <ac:spMk id="75" creationId="{22190E13-F127-F778-4551-511F5D7AEAF2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36.838" v="131"/>
          <ac:spMkLst>
            <pc:docMk/>
            <pc:sldMk cId="365253891" sldId="2147483615"/>
            <ac:spMk id="76" creationId="{3901605D-FE19-E6CE-D354-CF7D3F7C796B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20.199" v="145"/>
          <ac:spMkLst>
            <pc:docMk/>
            <pc:sldMk cId="365253891" sldId="2147483615"/>
            <ac:spMk id="77" creationId="{38D45A1B-F02E-5DBC-BCD0-9908E8826CF7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13.417" v="143"/>
          <ac:spMkLst>
            <pc:docMk/>
            <pc:sldMk cId="365253891" sldId="2147483615"/>
            <ac:spMk id="78" creationId="{6CB9253B-EC5C-2BCB-81BE-D4B06B539C7A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04.932" v="141"/>
          <ac:spMkLst>
            <pc:docMk/>
            <pc:sldMk cId="365253891" sldId="2147483615"/>
            <ac:spMk id="79" creationId="{CE5942C4-F7A1-ADF2-C252-879AF12A9759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10.026" v="142"/>
          <ac:spMkLst>
            <pc:docMk/>
            <pc:sldMk cId="365253891" sldId="2147483615"/>
            <ac:spMk id="83" creationId="{557FD970-C5C2-6233-A593-3042D674165E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59.760" v="139"/>
          <ac:spMkLst>
            <pc:docMk/>
            <pc:sldMk cId="365253891" sldId="2147483615"/>
            <ac:spMk id="84" creationId="{94F6C47E-51A8-529F-CC23-223914D72703}"/>
          </ac:spMkLst>
        </pc:spChg>
        <pc:spChg chg="del">
          <ac:chgData name="Christine M. Waita" userId="S::cmueni@kba.co.ke::874d82b4-df7d-4e6b-8df0-91bb520590d1" providerId="AD" clId="Web-{ABF731F1-E8C1-33DE-D353-28E415167B27}" dt="2025-08-18T18:26:17.027" v="144"/>
          <ac:spMkLst>
            <pc:docMk/>
            <pc:sldMk cId="365253891" sldId="2147483615"/>
            <ac:spMk id="86" creationId="{99BF3AF4-225E-F10E-8C94-5C2315F2C939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52.619" v="136"/>
          <ac:spMkLst>
            <pc:docMk/>
            <pc:sldMk cId="365253891" sldId="2147483615"/>
            <ac:spMk id="88" creationId="{0279CF85-D3B0-EE67-0A1B-E7FE92EDF777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20.759" v="123"/>
          <ac:spMkLst>
            <pc:docMk/>
            <pc:sldMk cId="365253891" sldId="2147483615"/>
            <ac:spMk id="89" creationId="{53FAB407-8858-53A9-8E32-2E7D8C821062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14.290" v="120"/>
          <ac:spMkLst>
            <pc:docMk/>
            <pc:sldMk cId="365253891" sldId="2147483615"/>
            <ac:spMk id="90" creationId="{1241DC82-626B-062F-3103-0AC044FD295B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00.180" v="115"/>
          <ac:spMkLst>
            <pc:docMk/>
            <pc:sldMk cId="365253891" sldId="2147483615"/>
            <ac:spMk id="91" creationId="{31CEB982-FAA4-CE65-2DC8-74B5EDED5B84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16.165" v="121"/>
          <ac:spMkLst>
            <pc:docMk/>
            <pc:sldMk cId="365253891" sldId="2147483615"/>
            <ac:spMk id="92" creationId="{087BA67A-B9A6-9166-D6F2-68ADEFE89EC9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51.508" v="112"/>
          <ac:spMkLst>
            <pc:docMk/>
            <pc:sldMk cId="365253891" sldId="2147483615"/>
            <ac:spMk id="93" creationId="{2F6DE408-95F3-2B60-8636-1019D2F93DE5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02.571" v="116"/>
          <ac:spMkLst>
            <pc:docMk/>
            <pc:sldMk cId="365253891" sldId="2147483615"/>
            <ac:spMk id="94" creationId="{390E5BC5-66D5-6157-0013-9C82E0D84B82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24.571" v="125"/>
          <ac:spMkLst>
            <pc:docMk/>
            <pc:sldMk cId="365253891" sldId="2147483615"/>
            <ac:spMk id="95" creationId="{662FEC7E-2268-A980-BC91-162B20214AE6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22.493" v="124"/>
          <ac:spMkLst>
            <pc:docMk/>
            <pc:sldMk cId="365253891" sldId="2147483615"/>
            <ac:spMk id="96" creationId="{18E210C1-4399-596B-085E-CF2F2790A793}"/>
          </ac:spMkLst>
        </pc:spChg>
        <pc:spChg chg="del">
          <ac:chgData name="Christine M. Waita" userId="S::cmueni@kba.co.ke::874d82b4-df7d-4e6b-8df0-91bb520590d1" providerId="AD" clId="Web-{ABF731F1-E8C1-33DE-D353-28E415167B27}" dt="2025-08-18T18:25:18.571" v="122"/>
          <ac:spMkLst>
            <pc:docMk/>
            <pc:sldMk cId="365253891" sldId="2147483615"/>
            <ac:spMk id="97" creationId="{A34D91A1-3A0F-F84B-3BCD-1318286F973C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57.305" v="114"/>
          <ac:spMkLst>
            <pc:docMk/>
            <pc:sldMk cId="365253891" sldId="2147483615"/>
            <ac:spMk id="98" creationId="{17CCED0B-EDBA-15CA-FA83-E4D600F239E3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33.819" v="106"/>
          <ac:spMkLst>
            <pc:docMk/>
            <pc:sldMk cId="365253891" sldId="2147483615"/>
            <ac:spMk id="99" creationId="{3AAFBDB3-71EF-3CE3-5107-4D2A30B28DB6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29.757" v="105"/>
          <ac:spMkLst>
            <pc:docMk/>
            <pc:sldMk cId="365253891" sldId="2147483615"/>
            <ac:spMk id="100" creationId="{EB7CBB9D-D334-A716-8386-A4947897AEF4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45.164" v="110"/>
          <ac:spMkLst>
            <pc:docMk/>
            <pc:sldMk cId="365253891" sldId="2147483615"/>
            <ac:spMk id="101" creationId="{E973022C-A8D1-FE2A-9BDA-1FB15A336930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38.726" v="108"/>
          <ac:spMkLst>
            <pc:docMk/>
            <pc:sldMk cId="365253891" sldId="2147483615"/>
            <ac:spMk id="102" creationId="{386B6A6D-7DB2-0450-9F99-8443F8DC52E0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36.554" v="107"/>
          <ac:spMkLst>
            <pc:docMk/>
            <pc:sldMk cId="365253891" sldId="2147483615"/>
            <ac:spMk id="103" creationId="{71264B7D-EA1D-DF69-B159-69ED3BECD5E6}"/>
          </ac:spMkLst>
        </pc:spChg>
        <pc:spChg chg="del">
          <ac:chgData name="Christine M. Waita" userId="S::cmueni@kba.co.ke::874d82b4-df7d-4e6b-8df0-91bb520590d1" providerId="AD" clId="Web-{ABF731F1-E8C1-33DE-D353-28E415167B27}" dt="2025-08-18T18:24:42.242" v="109"/>
          <ac:spMkLst>
            <pc:docMk/>
            <pc:sldMk cId="365253891" sldId="2147483615"/>
            <ac:spMk id="104" creationId="{04C86999-570A-AE98-B6E8-30CF90640E9A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46.987" v="90"/>
          <ac:spMkLst>
            <pc:docMk/>
            <pc:sldMk cId="365253891" sldId="2147483615"/>
            <ac:spMk id="111" creationId="{1DA0E328-956A-659A-653B-C5992A5C16B2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38.080" v="87"/>
          <ac:spMkLst>
            <pc:docMk/>
            <pc:sldMk cId="365253891" sldId="2147483615"/>
            <ac:spMk id="113" creationId="{C6380368-BE1E-33CA-149D-D82FD2F5276E}"/>
          </ac:spMkLst>
        </pc:spChg>
        <pc:spChg chg="del">
          <ac:chgData name="Christine M. Waita" userId="S::cmueni@kba.co.ke::874d82b4-df7d-4e6b-8df0-91bb520590d1" providerId="AD" clId="Web-{ABF731F1-E8C1-33DE-D353-28E415167B27}" dt="2025-08-18T18:22:57.784" v="95"/>
          <ac:spMkLst>
            <pc:docMk/>
            <pc:sldMk cId="365253891" sldId="2147483615"/>
            <ac:spMk id="115" creationId="{7C88338B-0487-BE23-CE99-785D7D8CB462}"/>
          </ac:spMkLst>
        </pc:spChg>
        <pc:cxnChg chg="add mod">
          <ac:chgData name="Christine M. Waita" userId="S::cmueni@kba.co.ke::874d82b4-df7d-4e6b-8df0-91bb520590d1" providerId="AD" clId="Web-{ABF731F1-E8C1-33DE-D353-28E415167B27}" dt="2025-08-18T22:08:20.975" v="637"/>
          <ac:cxnSpMkLst>
            <pc:docMk/>
            <pc:sldMk cId="365253891" sldId="2147483615"/>
            <ac:cxnSpMk id="5" creationId="{05F21FD6-E899-C68F-09E4-1BD9839B46D0}"/>
          </ac:cxnSpMkLst>
        </pc:cxnChg>
      </pc:sldChg>
      <pc:sldChg chg="del">
        <pc:chgData name="Christine M. Waita" userId="S::cmueni@kba.co.ke::874d82b4-df7d-4e6b-8df0-91bb520590d1" providerId="AD" clId="Web-{ABF731F1-E8C1-33DE-D353-28E415167B27}" dt="2025-08-18T18:01:36.107" v="5"/>
        <pc:sldMkLst>
          <pc:docMk/>
          <pc:sldMk cId="2995292666" sldId="2147483615"/>
        </pc:sldMkLst>
      </pc:sldChg>
      <pc:sldChg chg="addSp delSp modSp add del replId">
        <pc:chgData name="Christine M. Waita" userId="S::cmueni@kba.co.ke::874d82b4-df7d-4e6b-8df0-91bb520590d1" providerId="AD" clId="Web-{ABF731F1-E8C1-33DE-D353-28E415167B27}" dt="2025-08-18T22:17:22.244" v="647"/>
        <pc:sldMkLst>
          <pc:docMk/>
          <pc:sldMk cId="1578240985" sldId="2147483616"/>
        </pc:sldMkLst>
        <pc:spChg chg="del mod">
          <ac:chgData name="Christine M. Waita" userId="S::cmueni@kba.co.ke::874d82b4-df7d-4e6b-8df0-91bb520590d1" providerId="AD" clId="Web-{ABF731F1-E8C1-33DE-D353-28E415167B27}" dt="2025-08-18T22:09:15.493" v="640"/>
          <ac:spMkLst>
            <pc:docMk/>
            <pc:sldMk cId="1578240985" sldId="2147483616"/>
            <ac:spMk id="3" creationId="{B577218D-0CEE-A655-A219-CA158B85BCE6}"/>
          </ac:spMkLst>
        </pc:spChg>
        <pc:spChg chg="add del mod">
          <ac:chgData name="Christine M. Waita" userId="S::cmueni@kba.co.ke::874d82b4-df7d-4e6b-8df0-91bb520590d1" providerId="AD" clId="Web-{ABF731F1-E8C1-33DE-D353-28E415167B27}" dt="2025-08-18T22:09:25.759" v="645"/>
          <ac:spMkLst>
            <pc:docMk/>
            <pc:sldMk cId="1578240985" sldId="2147483616"/>
            <ac:spMk id="4" creationId="{ED80AB1C-14C9-924E-1559-4D59E7F645DD}"/>
          </ac:spMkLst>
        </pc:spChg>
        <pc:spChg chg="del">
          <ac:chgData name="Christine M. Waita" userId="S::cmueni@kba.co.ke::874d82b4-df7d-4e6b-8df0-91bb520590d1" providerId="AD" clId="Web-{ABF731F1-E8C1-33DE-D353-28E415167B27}" dt="2025-08-18T22:09:17.774" v="641"/>
          <ac:spMkLst>
            <pc:docMk/>
            <pc:sldMk cId="1578240985" sldId="2147483616"/>
            <ac:spMk id="7" creationId="{4B32A8B4-946B-18E2-A631-B67B976F1824}"/>
          </ac:spMkLst>
        </pc:spChg>
      </pc:sldChg>
      <pc:sldChg chg="add del replId">
        <pc:chgData name="Christine M. Waita" userId="S::cmueni@kba.co.ke::874d82b4-df7d-4e6b-8df0-91bb520590d1" providerId="AD" clId="Web-{ABF731F1-E8C1-33DE-D353-28E415167B27}" dt="2025-08-18T19:41:47.364" v="546"/>
        <pc:sldMkLst>
          <pc:docMk/>
          <pc:sldMk cId="2189472958" sldId="2147483616"/>
        </pc:sldMkLst>
      </pc:sldChg>
      <pc:sldChg chg="addSp delSp modSp add replId">
        <pc:chgData name="Christine M. Waita" userId="S::cmueni@kba.co.ke::874d82b4-df7d-4e6b-8df0-91bb520590d1" providerId="AD" clId="Web-{ABF731F1-E8C1-33DE-D353-28E415167B27}" dt="2025-08-18T22:38:19.242" v="806" actId="20577"/>
        <pc:sldMkLst>
          <pc:docMk/>
          <pc:sldMk cId="4171100348" sldId="2147483616"/>
        </pc:sldMkLst>
        <pc:spChg chg="mod">
          <ac:chgData name="Christine M. Waita" userId="S::cmueni@kba.co.ke::874d82b4-df7d-4e6b-8df0-91bb520590d1" providerId="AD" clId="Web-{ABF731F1-E8C1-33DE-D353-28E415167B27}" dt="2025-08-18T22:28:44.284" v="739" actId="20577"/>
          <ac:spMkLst>
            <pc:docMk/>
            <pc:sldMk cId="4171100348" sldId="2147483616"/>
            <ac:spMk id="2" creationId="{84F6DCB4-C5BE-B129-2A58-3ABD72F66C0C}"/>
          </ac:spMkLst>
        </pc:spChg>
        <pc:spChg chg="mod">
          <ac:chgData name="Christine M. Waita" userId="S::cmueni@kba.co.ke::874d82b4-df7d-4e6b-8df0-91bb520590d1" providerId="AD" clId="Web-{ABF731F1-E8C1-33DE-D353-28E415167B27}" dt="2025-08-18T22:38:19.242" v="806" actId="20577"/>
          <ac:spMkLst>
            <pc:docMk/>
            <pc:sldMk cId="4171100348" sldId="2147483616"/>
            <ac:spMk id="13" creationId="{47CE56A4-79DE-7A99-F238-78F557292806}"/>
          </ac:spMkLst>
        </pc:spChg>
        <pc:spChg chg="del">
          <ac:chgData name="Christine M. Waita" userId="S::cmueni@kba.co.ke::874d82b4-df7d-4e6b-8df0-91bb520590d1" providerId="AD" clId="Web-{ABF731F1-E8C1-33DE-D353-28E415167B27}" dt="2025-08-18T22:36:01.034" v="792"/>
          <ac:spMkLst>
            <pc:docMk/>
            <pc:sldMk cId="4171100348" sldId="2147483616"/>
            <ac:spMk id="17" creationId="{9F4CA4B5-95EB-B239-6E76-4434787E02C5}"/>
          </ac:spMkLst>
        </pc:spChg>
        <pc:spChg chg="del mod">
          <ac:chgData name="Christine M. Waita" userId="S::cmueni@kba.co.ke::874d82b4-df7d-4e6b-8df0-91bb520590d1" providerId="AD" clId="Web-{ABF731F1-E8C1-33DE-D353-28E415167B27}" dt="2025-08-18T22:35:52.721" v="791"/>
          <ac:spMkLst>
            <pc:docMk/>
            <pc:sldMk cId="4171100348" sldId="2147483616"/>
            <ac:spMk id="18" creationId="{7BE52849-54E4-3683-2649-F044043E3BC9}"/>
          </ac:spMkLst>
        </pc:spChg>
        <pc:spChg chg="mod">
          <ac:chgData name="Christine M. Waita" userId="S::cmueni@kba.co.ke::874d82b4-df7d-4e6b-8df0-91bb520590d1" providerId="AD" clId="Web-{ABF731F1-E8C1-33DE-D353-28E415167B27}" dt="2025-08-18T22:36:51.739" v="796" actId="1076"/>
          <ac:spMkLst>
            <pc:docMk/>
            <pc:sldMk cId="4171100348" sldId="2147483616"/>
            <ac:spMk id="19" creationId="{5554DC99-7974-CA72-C983-FA055A145DDC}"/>
          </ac:spMkLst>
        </pc:spChg>
        <pc:spChg chg="mod">
          <ac:chgData name="Christine M. Waita" userId="S::cmueni@kba.co.ke::874d82b4-df7d-4e6b-8df0-91bb520590d1" providerId="AD" clId="Web-{ABF731F1-E8C1-33DE-D353-28E415167B27}" dt="2025-08-18T22:37:30.116" v="802" actId="1076"/>
          <ac:spMkLst>
            <pc:docMk/>
            <pc:sldMk cId="4171100348" sldId="2147483616"/>
            <ac:spMk id="20" creationId="{DA4CB65E-74A2-852A-7210-F170A0BEE7AB}"/>
          </ac:spMkLst>
        </pc:spChg>
        <pc:spChg chg="mod">
          <ac:chgData name="Christine M. Waita" userId="S::cmueni@kba.co.ke::874d82b4-df7d-4e6b-8df0-91bb520590d1" providerId="AD" clId="Web-{ABF731F1-E8C1-33DE-D353-28E415167B27}" dt="2025-08-18T22:37:02.505" v="798" actId="1076"/>
          <ac:spMkLst>
            <pc:docMk/>
            <pc:sldMk cId="4171100348" sldId="2147483616"/>
            <ac:spMk id="22" creationId="{F5168453-F7F8-4FD0-3849-072AFE38652A}"/>
          </ac:spMkLst>
        </pc:spChg>
        <pc:spChg chg="mod">
          <ac:chgData name="Christine M. Waita" userId="S::cmueni@kba.co.ke::874d82b4-df7d-4e6b-8df0-91bb520590d1" providerId="AD" clId="Web-{ABF731F1-E8C1-33DE-D353-28E415167B27}" dt="2025-08-18T22:37:21.772" v="801" actId="1076"/>
          <ac:spMkLst>
            <pc:docMk/>
            <pc:sldMk cId="4171100348" sldId="2147483616"/>
            <ac:spMk id="23" creationId="{5EED108E-F6BB-6EEA-45AB-B1CEAEF79E37}"/>
          </ac:spMkLst>
        </pc:spChg>
        <pc:spChg chg="mod topLvl">
          <ac:chgData name="Christine M. Waita" userId="S::cmueni@kba.co.ke::874d82b4-df7d-4e6b-8df0-91bb520590d1" providerId="AD" clId="Web-{ABF731F1-E8C1-33DE-D353-28E415167B27}" dt="2025-08-18T22:37:05.693" v="799" actId="1076"/>
          <ac:spMkLst>
            <pc:docMk/>
            <pc:sldMk cId="4171100348" sldId="2147483616"/>
            <ac:spMk id="34" creationId="{75423642-8513-1701-1F60-F90690BD5A51}"/>
          </ac:spMkLst>
        </pc:spChg>
        <pc:spChg chg="mod topLvl">
          <ac:chgData name="Christine M. Waita" userId="S::cmueni@kba.co.ke::874d82b4-df7d-4e6b-8df0-91bb520590d1" providerId="AD" clId="Web-{ABF731F1-E8C1-33DE-D353-28E415167B27}" dt="2025-08-18T22:37:14.474" v="800" actId="1076"/>
          <ac:spMkLst>
            <pc:docMk/>
            <pc:sldMk cId="4171100348" sldId="2147483616"/>
            <ac:spMk id="35" creationId="{75673B6F-3CC6-F061-AAC8-6799E3483E2E}"/>
          </ac:spMkLst>
        </pc:spChg>
        <pc:spChg chg="mod">
          <ac:chgData name="Christine M. Waita" userId="S::cmueni@kba.co.ke::874d82b4-df7d-4e6b-8df0-91bb520590d1" providerId="AD" clId="Web-{ABF731F1-E8C1-33DE-D353-28E415167B27}" dt="2025-08-18T22:29:10.332" v="747" actId="20577"/>
          <ac:spMkLst>
            <pc:docMk/>
            <pc:sldMk cId="4171100348" sldId="2147483616"/>
            <ac:spMk id="41" creationId="{82EA60BC-0C9D-A08A-65DA-AA35C71B1613}"/>
          </ac:spMkLst>
        </pc:spChg>
        <pc:spChg chg="mod">
          <ac:chgData name="Christine M. Waita" userId="S::cmueni@kba.co.ke::874d82b4-df7d-4e6b-8df0-91bb520590d1" providerId="AD" clId="Web-{ABF731F1-E8C1-33DE-D353-28E415167B27}" dt="2025-08-18T22:30:59.852" v="756" actId="20577"/>
          <ac:spMkLst>
            <pc:docMk/>
            <pc:sldMk cId="4171100348" sldId="2147483616"/>
            <ac:spMk id="43" creationId="{CA1FDF89-2215-9D19-16AC-5519C62FF0C8}"/>
          </ac:spMkLst>
        </pc:spChg>
        <pc:spChg chg="mod">
          <ac:chgData name="Christine M. Waita" userId="S::cmueni@kba.co.ke::874d82b4-df7d-4e6b-8df0-91bb520590d1" providerId="AD" clId="Web-{ABF731F1-E8C1-33DE-D353-28E415167B27}" dt="2025-08-18T22:36:59.661" v="797" actId="1076"/>
          <ac:spMkLst>
            <pc:docMk/>
            <pc:sldMk cId="4171100348" sldId="2147483616"/>
            <ac:spMk id="44" creationId="{365D8B14-0660-33A3-2E9B-663138AD0F95}"/>
          </ac:spMkLst>
        </pc:spChg>
        <pc:spChg chg="mod">
          <ac:chgData name="Christine M. Waita" userId="S::cmueni@kba.co.ke::874d82b4-df7d-4e6b-8df0-91bb520590d1" providerId="AD" clId="Web-{ABF731F1-E8C1-33DE-D353-28E415167B27}" dt="2025-08-18T22:37:33.584" v="803" actId="1076"/>
          <ac:spMkLst>
            <pc:docMk/>
            <pc:sldMk cId="4171100348" sldId="2147483616"/>
            <ac:spMk id="45" creationId="{F5FC6053-8E9D-387B-7D7C-958F0A6E9C99}"/>
          </ac:spMkLst>
        </pc:spChg>
        <pc:grpChg chg="del">
          <ac:chgData name="Christine M. Waita" userId="S::cmueni@kba.co.ke::874d82b4-df7d-4e6b-8df0-91bb520590d1" providerId="AD" clId="Web-{ABF731F1-E8C1-33DE-D353-28E415167B27}" dt="2025-08-18T22:36:03.487" v="793"/>
          <ac:grpSpMkLst>
            <pc:docMk/>
            <pc:sldMk cId="4171100348" sldId="2147483616"/>
            <ac:grpSpMk id="28" creationId="{3F3B8892-7721-1B1A-332C-C276B9A33DE1}"/>
          </ac:grpSpMkLst>
        </pc:grpChg>
        <pc:grpChg chg="del">
          <ac:chgData name="Christine M. Waita" userId="S::cmueni@kba.co.ke::874d82b4-df7d-4e6b-8df0-91bb520590d1" providerId="AD" clId="Web-{ABF731F1-E8C1-33DE-D353-28E415167B27}" dt="2025-08-18T22:36:32.223" v="794"/>
          <ac:grpSpMkLst>
            <pc:docMk/>
            <pc:sldMk cId="4171100348" sldId="2147483616"/>
            <ac:grpSpMk id="33" creationId="{6D5BF8C4-21C9-1E11-0743-43CDBB3C8017}"/>
          </ac:grpSpMkLst>
        </pc:grpChg>
        <pc:grpChg chg="mod">
          <ac:chgData name="Christine M. Waita" userId="S::cmueni@kba.co.ke::874d82b4-df7d-4e6b-8df0-91bb520590d1" providerId="AD" clId="Web-{ABF731F1-E8C1-33DE-D353-28E415167B27}" dt="2025-08-18T22:37:38.022" v="804" actId="1076"/>
          <ac:grpSpMkLst>
            <pc:docMk/>
            <pc:sldMk cId="4171100348" sldId="2147483616"/>
            <ac:grpSpMk id="36" creationId="{81220759-D829-F234-6F45-C7CC09B46DF4}"/>
          </ac:grpSpMkLst>
        </pc:grpChg>
        <pc:picChg chg="add mod">
          <ac:chgData name="Christine M. Waita" userId="S::cmueni@kba.co.ke::874d82b4-df7d-4e6b-8df0-91bb520590d1" providerId="AD" clId="Web-{ABF731F1-E8C1-33DE-D353-28E415167B27}" dt="2025-08-18T22:30:45.445" v="754" actId="1076"/>
          <ac:picMkLst>
            <pc:docMk/>
            <pc:sldMk cId="4171100348" sldId="2147483616"/>
            <ac:picMk id="3" creationId="{AB3FC5F2-BDE6-3E94-E818-3FC714FFE2A6}"/>
          </ac:picMkLst>
        </pc:picChg>
        <pc:picChg chg="del">
          <ac:chgData name="Christine M. Waita" userId="S::cmueni@kba.co.ke::874d82b4-df7d-4e6b-8df0-91bb520590d1" providerId="AD" clId="Web-{ABF731F1-E8C1-33DE-D353-28E415167B27}" dt="2025-08-18T22:30:39.148" v="752"/>
          <ac:picMkLst>
            <pc:docMk/>
            <pc:sldMk cId="4171100348" sldId="2147483616"/>
            <ac:picMk id="5" creationId="{EB59B2FA-C790-1FFD-404B-3FABD35DDBA2}"/>
          </ac:picMkLst>
        </pc:picChg>
      </pc:sldChg>
    </pc:docChg>
  </pc:docChgLst>
  <pc:docChgLst>
    <pc:chgData name="Sharon Juma" userId="S::sharon.juma_fsdkenya.org#ext#@kenyabankers.onmicrosoft.com::79b8ccbd-9da9-4ae6-a1de-2f9b4ea5bbc9" providerId="AD" clId="Web-{D7A33CB3-3B11-85AB-C600-8604933830CF}"/>
    <pc:docChg chg="addSld delSld modSld">
      <pc:chgData name="Sharon Juma" userId="S::sharon.juma_fsdkenya.org#ext#@kenyabankers.onmicrosoft.com::79b8ccbd-9da9-4ae6-a1de-2f9b4ea5bbc9" providerId="AD" clId="Web-{D7A33CB3-3B11-85AB-C600-8604933830CF}" dt="2025-08-18T20:34:02.569" v="242" actId="1076"/>
      <pc:docMkLst>
        <pc:docMk/>
      </pc:docMkLst>
      <pc:sldChg chg="modSp">
        <pc:chgData name="Sharon Juma" userId="S::sharon.juma_fsdkenya.org#ext#@kenyabankers.onmicrosoft.com::79b8ccbd-9da9-4ae6-a1de-2f9b4ea5bbc9" providerId="AD" clId="Web-{D7A33CB3-3B11-85AB-C600-8604933830CF}" dt="2025-08-18T20:09:48.223" v="241" actId="20577"/>
        <pc:sldMkLst>
          <pc:docMk/>
          <pc:sldMk cId="0" sldId="256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20:09:42.786" v="239" actId="14100"/>
          <ac:spMkLst>
            <pc:docMk/>
            <pc:sldMk cId="0" sldId="256"/>
            <ac:spMk id="7" creationId="{2E06D5F1-B35E-AF9F-3C64-2F8071FF164B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20:09:48.223" v="241" actId="20577"/>
          <ac:spMkLst>
            <pc:docMk/>
            <pc:sldMk cId="0" sldId="256"/>
            <ac:spMk id="8" creationId="{85115C1D-BACA-38D4-5DAE-49F3CA366FCD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20:02:46.064" v="228" actId="20577"/>
        <pc:sldMkLst>
          <pc:docMk/>
          <pc:sldMk cId="3620891702" sldId="258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20:02:46.064" v="228" actId="20577"/>
          <ac:spMkLst>
            <pc:docMk/>
            <pc:sldMk cId="3620891702" sldId="258"/>
            <ac:spMk id="25" creationId="{A192C895-231B-444D-8903-167F34691142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7:55:57.463" v="131" actId="20577"/>
        <pc:sldMkLst>
          <pc:docMk/>
          <pc:sldMk cId="3052748126" sldId="372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7:55:57.463" v="131" actId="20577"/>
          <ac:spMkLst>
            <pc:docMk/>
            <pc:sldMk cId="3052748126" sldId="372"/>
            <ac:spMk id="5" creationId="{A04B9380-2CEC-D14A-3963-E52C0B18EA10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8:34:48.659" v="186" actId="20577"/>
        <pc:sldMkLst>
          <pc:docMk/>
          <pc:sldMk cId="2702357505" sldId="373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8:34:48.659" v="186" actId="20577"/>
          <ac:spMkLst>
            <pc:docMk/>
            <pc:sldMk cId="2702357505" sldId="373"/>
            <ac:spMk id="27" creationId="{523B3300-6EF4-A178-F4E5-E0CD64A52724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8:54:55.775" v="220" actId="14100"/>
        <pc:sldMkLst>
          <pc:docMk/>
          <pc:sldMk cId="777849008" sldId="2003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8:54:55.775" v="220" actId="14100"/>
          <ac:spMkLst>
            <pc:docMk/>
            <pc:sldMk cId="777849008" sldId="2003"/>
            <ac:spMk id="2" creationId="{728CFD3E-B949-DAAB-6FD9-9AF54A351906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2.412" v="87"/>
          <ac:spMkLst>
            <pc:docMk/>
            <pc:sldMk cId="777849008" sldId="2003"/>
            <ac:spMk id="5" creationId="{098C61E1-7380-7233-FBFA-A1F71CCB423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56" v="51"/>
          <ac:spMkLst>
            <pc:docMk/>
            <pc:sldMk cId="777849008" sldId="2003"/>
            <ac:spMk id="8" creationId="{E03B8D08-2490-BEE1-1B8F-5F05CA6BEE7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3"/>
          <ac:spMkLst>
            <pc:docMk/>
            <pc:sldMk cId="777849008" sldId="2003"/>
            <ac:spMk id="10" creationId="{8F454366-AF39-7D1F-C31B-4909F2EB3BCE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56" v="52"/>
          <ac:spMkLst>
            <pc:docMk/>
            <pc:sldMk cId="777849008" sldId="2003"/>
            <ac:spMk id="11" creationId="{29962801-7D7E-6CC3-ED8D-9E56F75096E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3"/>
          <ac:spMkLst>
            <pc:docMk/>
            <pc:sldMk cId="777849008" sldId="2003"/>
            <ac:spMk id="12" creationId="{294ACA8A-38F1-B0D4-283D-6321265975E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4"/>
          <ac:spMkLst>
            <pc:docMk/>
            <pc:sldMk cId="777849008" sldId="2003"/>
            <ac:spMk id="13" creationId="{ED6A4382-0FDF-95FF-1A29-B1BBAEE7853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4"/>
          <ac:spMkLst>
            <pc:docMk/>
            <pc:sldMk cId="777849008" sldId="2003"/>
            <ac:spMk id="14" creationId="{0DE7EF55-A3AF-5ADA-1049-FE71C668CD3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5"/>
          <ac:spMkLst>
            <pc:docMk/>
            <pc:sldMk cId="777849008" sldId="2003"/>
            <ac:spMk id="15" creationId="{F6CB8FDA-5990-FE19-D6F3-A88819DE72EB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6"/>
          <ac:spMkLst>
            <pc:docMk/>
            <pc:sldMk cId="777849008" sldId="2003"/>
            <ac:spMk id="16" creationId="{A7645FA8-A9B1-67DD-86DA-B2B1844360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7"/>
          <ac:spMkLst>
            <pc:docMk/>
            <pc:sldMk cId="777849008" sldId="2003"/>
            <ac:spMk id="17" creationId="{EDF85CE7-3EE6-554B-63E8-AB31B4A4DDF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8"/>
          <ac:spMkLst>
            <pc:docMk/>
            <pc:sldMk cId="777849008" sldId="2003"/>
            <ac:spMk id="18" creationId="{066E956E-4F67-A812-9F45-48649862EE29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59"/>
          <ac:spMkLst>
            <pc:docMk/>
            <pc:sldMk cId="777849008" sldId="2003"/>
            <ac:spMk id="19" creationId="{839ABDE5-BF87-DA2E-AFDD-DB1A2AF2FA9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0"/>
          <ac:spMkLst>
            <pc:docMk/>
            <pc:sldMk cId="777849008" sldId="2003"/>
            <ac:spMk id="22" creationId="{78D9A177-2907-A388-18AB-76F9E26E2A9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1"/>
          <ac:spMkLst>
            <pc:docMk/>
            <pc:sldMk cId="777849008" sldId="2003"/>
            <ac:spMk id="44" creationId="{95D49956-43F7-7E09-94A3-23537920E38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2"/>
          <ac:spMkLst>
            <pc:docMk/>
            <pc:sldMk cId="777849008" sldId="2003"/>
            <ac:spMk id="46" creationId="{2FFE5AB1-49BD-C8CF-20CB-3D05F16082E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5"/>
          <ac:spMkLst>
            <pc:docMk/>
            <pc:sldMk cId="777849008" sldId="2003"/>
            <ac:spMk id="54" creationId="{CA3EEAE0-B3DC-0CD6-C94F-B5A850A3DE7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6"/>
          <ac:spMkLst>
            <pc:docMk/>
            <pc:sldMk cId="777849008" sldId="2003"/>
            <ac:spMk id="55" creationId="{A9D2A1DE-413D-0A2E-C032-7B4AB20CC9A2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7"/>
          <ac:spMkLst>
            <pc:docMk/>
            <pc:sldMk cId="777849008" sldId="2003"/>
            <ac:spMk id="58" creationId="{8014D85C-D29A-832D-D743-50951C485C4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8"/>
          <ac:spMkLst>
            <pc:docMk/>
            <pc:sldMk cId="777849008" sldId="2003"/>
            <ac:spMk id="91" creationId="{A0945033-93DC-FBDC-3F8C-295080982B16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71" v="69"/>
          <ac:spMkLst>
            <pc:docMk/>
            <pc:sldMk cId="777849008" sldId="2003"/>
            <ac:spMk id="94" creationId="{985E2972-242C-DC79-E1EC-96DA8943D52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0"/>
          <ac:spMkLst>
            <pc:docMk/>
            <pc:sldMk cId="777849008" sldId="2003"/>
            <ac:spMk id="95" creationId="{A23E5186-E48F-C1F3-B756-5CAF132F99F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1"/>
          <ac:spMkLst>
            <pc:docMk/>
            <pc:sldMk cId="777849008" sldId="2003"/>
            <ac:spMk id="96" creationId="{2A77584F-15C1-CC6D-3C17-C60028437A5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2"/>
          <ac:spMkLst>
            <pc:docMk/>
            <pc:sldMk cId="777849008" sldId="2003"/>
            <ac:spMk id="100" creationId="{F4B36D58-0EFB-58A5-4B26-D9C8514E1CD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3"/>
          <ac:spMkLst>
            <pc:docMk/>
            <pc:sldMk cId="777849008" sldId="2003"/>
            <ac:spMk id="101" creationId="{1F842409-7EAD-E8F8-D01C-48F36F23821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4"/>
          <ac:spMkLst>
            <pc:docMk/>
            <pc:sldMk cId="777849008" sldId="2003"/>
            <ac:spMk id="102" creationId="{C526BC31-2729-3227-F778-0246362659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5"/>
          <ac:spMkLst>
            <pc:docMk/>
            <pc:sldMk cId="777849008" sldId="2003"/>
            <ac:spMk id="103" creationId="{42339DA4-F8C6-1408-CD45-EC29793D214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6"/>
          <ac:spMkLst>
            <pc:docMk/>
            <pc:sldMk cId="777849008" sldId="2003"/>
            <ac:spMk id="104" creationId="{83A6ACC7-BB62-E4C9-E950-0EB09D815DD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7"/>
          <ac:spMkLst>
            <pc:docMk/>
            <pc:sldMk cId="777849008" sldId="2003"/>
            <ac:spMk id="107" creationId="{43790D2C-7604-CD77-9D6B-B16FFF6742E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8"/>
          <ac:spMkLst>
            <pc:docMk/>
            <pc:sldMk cId="777849008" sldId="2003"/>
            <ac:spMk id="108" creationId="{105154B8-6AD1-D973-5C0D-9E5AF5533C1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79"/>
          <ac:spMkLst>
            <pc:docMk/>
            <pc:sldMk cId="777849008" sldId="2003"/>
            <ac:spMk id="109" creationId="{913D722D-0262-7067-A4F5-2D4F3CFE9C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0"/>
          <ac:spMkLst>
            <pc:docMk/>
            <pc:sldMk cId="777849008" sldId="2003"/>
            <ac:spMk id="110" creationId="{BC918371-02DA-1698-5BFD-7ACDF1682EBC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1"/>
          <ac:spMkLst>
            <pc:docMk/>
            <pc:sldMk cId="777849008" sldId="2003"/>
            <ac:spMk id="111" creationId="{5BAE2D57-6070-0AD1-D447-B3D1A637CFB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2"/>
          <ac:spMkLst>
            <pc:docMk/>
            <pc:sldMk cId="777849008" sldId="2003"/>
            <ac:spMk id="112" creationId="{35D67DA5-B14C-CBC9-264C-F740EFED1762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3"/>
          <ac:spMkLst>
            <pc:docMk/>
            <pc:sldMk cId="777849008" sldId="2003"/>
            <ac:spMk id="113" creationId="{0B41A274-9A41-E85A-82FF-31E96259DCE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4"/>
          <ac:spMkLst>
            <pc:docMk/>
            <pc:sldMk cId="777849008" sldId="2003"/>
            <ac:spMk id="114" creationId="{0225F864-614F-6957-1543-9A84F9CB8DD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5"/>
          <ac:spMkLst>
            <pc:docMk/>
            <pc:sldMk cId="777849008" sldId="2003"/>
            <ac:spMk id="115" creationId="{A0F89411-D125-7D5E-BF45-D95D3595A5D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31.787" v="86"/>
          <ac:spMkLst>
            <pc:docMk/>
            <pc:sldMk cId="777849008" sldId="2003"/>
            <ac:spMk id="116" creationId="{2BAB8982-47B8-96E4-9904-73D8008822A6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7:55:00.710" v="128" actId="20577"/>
        <pc:sldMkLst>
          <pc:docMk/>
          <pc:sldMk cId="1355397241" sldId="2300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24"/>
          <ac:spMkLst>
            <pc:docMk/>
            <pc:sldMk cId="1355397241" sldId="2300"/>
            <ac:spMk id="5" creationId="{098C61E1-7380-7233-FBFA-A1F71CCB423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5.350" v="125"/>
          <ac:spMkLst>
            <pc:docMk/>
            <pc:sldMk cId="1355397241" sldId="2300"/>
            <ac:spMk id="7" creationId="{C286F866-7631-21B3-370C-9E9AD20AB48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53" v="88"/>
          <ac:spMkLst>
            <pc:docMk/>
            <pc:sldMk cId="1355397241" sldId="2300"/>
            <ac:spMk id="8" creationId="{E03B8D08-2490-BEE1-1B8F-5F05CA6BEE7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0"/>
          <ac:spMkLst>
            <pc:docMk/>
            <pc:sldMk cId="1355397241" sldId="2300"/>
            <ac:spMk id="10" creationId="{8F454366-AF39-7D1F-C31B-4909F2EB3BCE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89"/>
          <ac:spMkLst>
            <pc:docMk/>
            <pc:sldMk cId="1355397241" sldId="2300"/>
            <ac:spMk id="11" creationId="{29962801-7D7E-6CC3-ED8D-9E56F75096E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0"/>
          <ac:spMkLst>
            <pc:docMk/>
            <pc:sldMk cId="1355397241" sldId="2300"/>
            <ac:spMk id="12" creationId="{294ACA8A-38F1-B0D4-283D-6321265975E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1"/>
          <ac:spMkLst>
            <pc:docMk/>
            <pc:sldMk cId="1355397241" sldId="2300"/>
            <ac:spMk id="13" creationId="{ED6A4382-0FDF-95FF-1A29-B1BBAEE7853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1"/>
          <ac:spMkLst>
            <pc:docMk/>
            <pc:sldMk cId="1355397241" sldId="2300"/>
            <ac:spMk id="14" creationId="{0DE7EF55-A3AF-5ADA-1049-FE71C668CD3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2"/>
          <ac:spMkLst>
            <pc:docMk/>
            <pc:sldMk cId="1355397241" sldId="2300"/>
            <ac:spMk id="15" creationId="{F6CB8FDA-5990-FE19-D6F3-A88819DE72EB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3"/>
          <ac:spMkLst>
            <pc:docMk/>
            <pc:sldMk cId="1355397241" sldId="2300"/>
            <ac:spMk id="16" creationId="{A7645FA8-A9B1-67DD-86DA-B2B1844360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4"/>
          <ac:spMkLst>
            <pc:docMk/>
            <pc:sldMk cId="1355397241" sldId="2300"/>
            <ac:spMk id="17" creationId="{EDF85CE7-3EE6-554B-63E8-AB31B4A4DDF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69" v="95"/>
          <ac:spMkLst>
            <pc:docMk/>
            <pc:sldMk cId="1355397241" sldId="2300"/>
            <ac:spMk id="18" creationId="{066E956E-4F67-A812-9F45-48649862EE29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57.179" v="127" actId="14100"/>
          <ac:spMkLst>
            <pc:docMk/>
            <pc:sldMk cId="1355397241" sldId="2300"/>
            <ac:spMk id="19" creationId="{839ABDE5-BF87-DA2E-AFDD-DB1A2AF2FA9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5:00.710" v="128" actId="20577"/>
          <ac:spMkLst>
            <pc:docMk/>
            <pc:sldMk cId="1355397241" sldId="2300"/>
            <ac:spMk id="22" creationId="{78D9A177-2907-A388-18AB-76F9E26E2A9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98"/>
          <ac:spMkLst>
            <pc:docMk/>
            <pc:sldMk cId="1355397241" sldId="2300"/>
            <ac:spMk id="44" creationId="{95D49956-43F7-7E09-94A3-23537920E38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99"/>
          <ac:spMkLst>
            <pc:docMk/>
            <pc:sldMk cId="1355397241" sldId="2300"/>
            <ac:spMk id="46" creationId="{2FFE5AB1-49BD-C8CF-20CB-3D05F16082E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2"/>
          <ac:spMkLst>
            <pc:docMk/>
            <pc:sldMk cId="1355397241" sldId="2300"/>
            <ac:spMk id="54" creationId="{CA3EEAE0-B3DC-0CD6-C94F-B5A850A3DE7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3"/>
          <ac:spMkLst>
            <pc:docMk/>
            <pc:sldMk cId="1355397241" sldId="2300"/>
            <ac:spMk id="55" creationId="{A9D2A1DE-413D-0A2E-C032-7B4AB20CC9A2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4"/>
          <ac:spMkLst>
            <pc:docMk/>
            <pc:sldMk cId="1355397241" sldId="2300"/>
            <ac:spMk id="58" creationId="{8014D85C-D29A-832D-D743-50951C485C4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5"/>
          <ac:spMkLst>
            <pc:docMk/>
            <pc:sldMk cId="1355397241" sldId="2300"/>
            <ac:spMk id="91" creationId="{A0945033-93DC-FBDC-3F8C-295080982B16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6"/>
          <ac:spMkLst>
            <pc:docMk/>
            <pc:sldMk cId="1355397241" sldId="2300"/>
            <ac:spMk id="94" creationId="{985E2972-242C-DC79-E1EC-96DA8943D52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7"/>
          <ac:spMkLst>
            <pc:docMk/>
            <pc:sldMk cId="1355397241" sldId="2300"/>
            <ac:spMk id="95" creationId="{A23E5186-E48F-C1F3-B756-5CAF132F99F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8"/>
          <ac:spMkLst>
            <pc:docMk/>
            <pc:sldMk cId="1355397241" sldId="2300"/>
            <ac:spMk id="96" creationId="{2A77584F-15C1-CC6D-3C17-C60028437A5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09"/>
          <ac:spMkLst>
            <pc:docMk/>
            <pc:sldMk cId="1355397241" sldId="2300"/>
            <ac:spMk id="100" creationId="{F4B36D58-0EFB-58A5-4B26-D9C8514E1CD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0"/>
          <ac:spMkLst>
            <pc:docMk/>
            <pc:sldMk cId="1355397241" sldId="2300"/>
            <ac:spMk id="101" creationId="{1F842409-7EAD-E8F8-D01C-48F36F23821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1"/>
          <ac:spMkLst>
            <pc:docMk/>
            <pc:sldMk cId="1355397241" sldId="2300"/>
            <ac:spMk id="102" creationId="{C526BC31-2729-3227-F778-0246362659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2"/>
          <ac:spMkLst>
            <pc:docMk/>
            <pc:sldMk cId="1355397241" sldId="2300"/>
            <ac:spMk id="103" creationId="{42339DA4-F8C6-1408-CD45-EC29793D214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3"/>
          <ac:spMkLst>
            <pc:docMk/>
            <pc:sldMk cId="1355397241" sldId="2300"/>
            <ac:spMk id="104" creationId="{83A6ACC7-BB62-E4C9-E950-0EB09D815DD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4"/>
          <ac:spMkLst>
            <pc:docMk/>
            <pc:sldMk cId="1355397241" sldId="2300"/>
            <ac:spMk id="107" creationId="{43790D2C-7604-CD77-9D6B-B16FFF6742E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5"/>
          <ac:spMkLst>
            <pc:docMk/>
            <pc:sldMk cId="1355397241" sldId="2300"/>
            <ac:spMk id="108" creationId="{105154B8-6AD1-D973-5C0D-9E5AF5533C1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6"/>
          <ac:spMkLst>
            <pc:docMk/>
            <pc:sldMk cId="1355397241" sldId="2300"/>
            <ac:spMk id="109" creationId="{913D722D-0262-7067-A4F5-2D4F3CFE9C7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584" v="117"/>
          <ac:spMkLst>
            <pc:docMk/>
            <pc:sldMk cId="1355397241" sldId="2300"/>
            <ac:spMk id="110" creationId="{BC918371-02DA-1698-5BFD-7ACDF1682EBC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18"/>
          <ac:spMkLst>
            <pc:docMk/>
            <pc:sldMk cId="1355397241" sldId="2300"/>
            <ac:spMk id="111" creationId="{5BAE2D57-6070-0AD1-D447-B3D1A637CFB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19"/>
          <ac:spMkLst>
            <pc:docMk/>
            <pc:sldMk cId="1355397241" sldId="2300"/>
            <ac:spMk id="112" creationId="{35D67DA5-B14C-CBC9-264C-F740EFED1762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20"/>
          <ac:spMkLst>
            <pc:docMk/>
            <pc:sldMk cId="1355397241" sldId="2300"/>
            <ac:spMk id="113" creationId="{0B41A274-9A41-E85A-82FF-31E96259DCE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21"/>
          <ac:spMkLst>
            <pc:docMk/>
            <pc:sldMk cId="1355397241" sldId="2300"/>
            <ac:spMk id="114" creationId="{0225F864-614F-6957-1543-9A84F9CB8DD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22"/>
          <ac:spMkLst>
            <pc:docMk/>
            <pc:sldMk cId="1355397241" sldId="2300"/>
            <ac:spMk id="115" creationId="{A0F89411-D125-7D5E-BF45-D95D3595A5D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44.600" v="123"/>
          <ac:spMkLst>
            <pc:docMk/>
            <pc:sldMk cId="1355397241" sldId="2300"/>
            <ac:spMk id="116" creationId="{2BAB8982-47B8-96E4-9904-73D8008822A6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9:49:13.856" v="224" actId="20577"/>
        <pc:sldMkLst>
          <pc:docMk/>
          <pc:sldMk cId="981349596" sldId="2306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7:53:39.878" v="39"/>
          <ac:spMkLst>
            <pc:docMk/>
            <pc:sldMk cId="981349596" sldId="2306"/>
            <ac:spMk id="4" creationId="{7E4088CC-3B08-3542-714F-01ABBBFA581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3:39.878" v="40"/>
          <ac:spMkLst>
            <pc:docMk/>
            <pc:sldMk cId="981349596" sldId="2306"/>
            <ac:spMk id="5" creationId="{7E5A25E7-8098-6693-82A4-06E82BD7463B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9:49:13.856" v="224" actId="20577"/>
          <ac:spMkLst>
            <pc:docMk/>
            <pc:sldMk cId="981349596" sldId="2306"/>
            <ac:spMk id="7" creationId="{46B25A10-D57C-6C76-01AE-5A4A420DA374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3:40.097" v="42"/>
          <ac:spMkLst>
            <pc:docMk/>
            <pc:sldMk cId="981349596" sldId="2306"/>
            <ac:spMk id="8" creationId="{1B5D887C-C122-A44A-F1A4-C7C6E6B43968}"/>
          </ac:spMkLst>
        </pc:spChg>
        <pc:graphicFrameChg chg="mod">
          <ac:chgData name="Sharon Juma" userId="S::sharon.juma_fsdkenya.org#ext#@kenyabankers.onmicrosoft.com::79b8ccbd-9da9-4ae6-a1de-2f9b4ea5bbc9" providerId="AD" clId="Web-{D7A33CB3-3B11-85AB-C600-8604933830CF}" dt="2025-08-18T17:53:59.739" v="47" actId="1076"/>
          <ac:graphicFrameMkLst>
            <pc:docMk/>
            <pc:sldMk cId="981349596" sldId="2306"/>
            <ac:graphicFrameMk id="6" creationId="{A9A75921-E3BD-DAB5-B8BE-8DB4898EACF0}"/>
          </ac:graphicFrameMkLst>
        </pc:graphicFrameChg>
      </pc:sldChg>
      <pc:sldChg chg="addSp delSp modSp add">
        <pc:chgData name="Sharon Juma" userId="S::sharon.juma_fsdkenya.org#ext#@kenyabankers.onmicrosoft.com::79b8ccbd-9da9-4ae6-a1de-2f9b4ea5bbc9" providerId="AD" clId="Web-{D7A33CB3-3B11-85AB-C600-8604933830CF}" dt="2025-08-18T20:06:06.948" v="232" actId="1076"/>
        <pc:sldMkLst>
          <pc:docMk/>
          <pc:sldMk cId="2157407003" sldId="16016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8"/>
          <ac:spMkLst>
            <pc:docMk/>
            <pc:sldMk cId="2157407003" sldId="16016"/>
            <ac:spMk id="2" creationId="{303A45E5-EF54-3453-DF67-33AB82EFDF94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20.266" v="30"/>
          <ac:spMkLst>
            <pc:docMk/>
            <pc:sldMk cId="2157407003" sldId="16016"/>
            <ac:spMk id="3" creationId="{D9081971-5BA3-101D-009F-DED60653EC40}"/>
          </ac:spMkLst>
        </pc:spChg>
        <pc:spChg chg="del mod">
          <ac:chgData name="Sharon Juma" userId="S::sharon.juma_fsdkenya.org#ext#@kenyabankers.onmicrosoft.com::79b8ccbd-9da9-4ae6-a1de-2f9b4ea5bbc9" providerId="AD" clId="Web-{D7A33CB3-3B11-85AB-C600-8604933830CF}" dt="2025-08-18T17:52:35.141" v="31"/>
          <ac:spMkLst>
            <pc:docMk/>
            <pc:sldMk cId="2157407003" sldId="16016"/>
            <ac:spMk id="4" creationId="{0963F861-92C2-BBA1-F0A3-63AF42D21AC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9"/>
          <ac:spMkLst>
            <pc:docMk/>
            <pc:sldMk cId="2157407003" sldId="16016"/>
            <ac:spMk id="6" creationId="{2CDC6837-6BB2-5628-1AF8-45AB6A4E25F7}"/>
          </ac:spMkLst>
        </pc:spChg>
        <pc:spChg chg="add del mod">
          <ac:chgData name="Sharon Juma" userId="S::sharon.juma_fsdkenya.org#ext#@kenyabankers.onmicrosoft.com::79b8ccbd-9da9-4ae6-a1de-2f9b4ea5bbc9" providerId="AD" clId="Web-{D7A33CB3-3B11-85AB-C600-8604933830CF}" dt="2025-08-18T17:52:41.282" v="33"/>
          <ac:spMkLst>
            <pc:docMk/>
            <pc:sldMk cId="2157407003" sldId="16016"/>
            <ac:spMk id="7" creationId="{EFE6B835-9A48-B934-C798-F75DFCF77915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18"/>
          <ac:spMkLst>
            <pc:docMk/>
            <pc:sldMk cId="2157407003" sldId="16016"/>
            <ac:spMk id="8" creationId="{0570F127-4939-E569-F40C-66F5D4AC80B7}"/>
          </ac:spMkLst>
        </pc:spChg>
        <pc:spChg chg="add mod">
          <ac:chgData name="Sharon Juma" userId="S::sharon.juma_fsdkenya.org#ext#@kenyabankers.onmicrosoft.com::79b8ccbd-9da9-4ae6-a1de-2f9b4ea5bbc9" providerId="AD" clId="Web-{D7A33CB3-3B11-85AB-C600-8604933830CF}" dt="2025-08-18T17:53:05.971" v="38" actId="14100"/>
          <ac:spMkLst>
            <pc:docMk/>
            <pc:sldMk cId="2157407003" sldId="16016"/>
            <ac:spMk id="10" creationId="{76FF7994-9102-175A-422F-17B0D6EC594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2"/>
          <ac:spMkLst>
            <pc:docMk/>
            <pc:sldMk cId="2157407003" sldId="16016"/>
            <ac:spMk id="11" creationId="{17C4E15A-6696-06F7-EC73-FC6E786B9364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3"/>
          <ac:spMkLst>
            <pc:docMk/>
            <pc:sldMk cId="2157407003" sldId="16016"/>
            <ac:spMk id="22" creationId="{0EA2456B-0E7C-F948-CAF8-F0F74278356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16"/>
          <ac:spMkLst>
            <pc:docMk/>
            <pc:sldMk cId="2157407003" sldId="16016"/>
            <ac:spMk id="23" creationId="{EFF1BA23-A73A-86DD-C6A3-4AD351544B3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4"/>
          <ac:spMkLst>
            <pc:docMk/>
            <pc:sldMk cId="2157407003" sldId="16016"/>
            <ac:spMk id="24" creationId="{1E9CE1F4-300C-4283-BF4F-BD72AC07DCAA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19"/>
          <ac:spMkLst>
            <pc:docMk/>
            <pc:sldMk cId="2157407003" sldId="16016"/>
            <ac:spMk id="25" creationId="{BAAF5897-95A4-2ABF-31BB-88FBCA10C073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5"/>
          <ac:spMkLst>
            <pc:docMk/>
            <pc:sldMk cId="2157407003" sldId="16016"/>
            <ac:spMk id="26" creationId="{815F00F2-A1AD-9964-F3C6-F60AE06F0328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3"/>
          <ac:spMkLst>
            <pc:docMk/>
            <pc:sldMk cId="2157407003" sldId="16016"/>
            <ac:spMk id="33" creationId="{FAA6D79D-EF0D-4859-804E-FF82DC838AE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1"/>
          <ac:spMkLst>
            <pc:docMk/>
            <pc:sldMk cId="2157407003" sldId="16016"/>
            <ac:spMk id="41" creationId="{B90ED1A2-71CB-F97F-91E0-6C78585AAE10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0"/>
          <ac:spMkLst>
            <pc:docMk/>
            <pc:sldMk cId="2157407003" sldId="16016"/>
            <ac:spMk id="60" creationId="{F29E6AAB-2222-B580-F893-411A351E72A0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1"/>
          <ac:spMkLst>
            <pc:docMk/>
            <pc:sldMk cId="2157407003" sldId="16016"/>
            <ac:spMk id="61" creationId="{A0AF9A24-9309-76C5-F5E1-7BB2E930143E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2"/>
          <ac:spMkLst>
            <pc:docMk/>
            <pc:sldMk cId="2157407003" sldId="16016"/>
            <ac:spMk id="62" creationId="{B2CDFF19-C601-3CD7-D173-CA1AE14A8F9F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34" v="10"/>
          <ac:spMkLst>
            <pc:docMk/>
            <pc:sldMk cId="2157407003" sldId="16016"/>
            <ac:spMk id="68" creationId="{567F3EF9-5F83-EB26-CFBE-A7CBF5374830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4"/>
          <ac:spMkLst>
            <pc:docMk/>
            <pc:sldMk cId="2157407003" sldId="16016"/>
            <ac:spMk id="70" creationId="{E0B0C33E-C0C2-DEE5-71CF-AE476933C6A9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5"/>
          <ac:spMkLst>
            <pc:docMk/>
            <pc:sldMk cId="2157407003" sldId="16016"/>
            <ac:spMk id="71" creationId="{B459BA48-E585-5088-04B0-CBC92995AF2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6"/>
          <ac:spMkLst>
            <pc:docMk/>
            <pc:sldMk cId="2157407003" sldId="16016"/>
            <ac:spMk id="72" creationId="{0ECF9B49-5C72-29CC-7DF5-E7704FFD994E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2:19.750" v="27"/>
          <ac:spMkLst>
            <pc:docMk/>
            <pc:sldMk cId="2157407003" sldId="16016"/>
            <ac:spMk id="75" creationId="{EB027213-FEE5-EB9F-C0B3-65F16F6BF29C}"/>
          </ac:spMkLst>
        </pc:spChg>
        <pc:cxnChg chg="mod">
          <ac:chgData name="Sharon Juma" userId="S::sharon.juma_fsdkenya.org#ext#@kenyabankers.onmicrosoft.com::79b8ccbd-9da9-4ae6-a1de-2f9b4ea5bbc9" providerId="AD" clId="Web-{D7A33CB3-3B11-85AB-C600-8604933830CF}" dt="2025-08-18T20:06:06.948" v="232" actId="1076"/>
          <ac:cxnSpMkLst>
            <pc:docMk/>
            <pc:sldMk cId="2157407003" sldId="16016"/>
            <ac:cxnSpMk id="65" creationId="{BDDDFC1B-8B33-E2A1-6B5E-668DF491DA7C}"/>
          </ac:cxnSpMkLst>
        </pc:cxn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17:54:19.427" v="50"/>
        <pc:sldMkLst>
          <pc:docMk/>
          <pc:sldMk cId="834074827" sldId="2147375371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17:54:19.427" v="50"/>
          <ac:spMkLst>
            <pc:docMk/>
            <pc:sldMk cId="834074827" sldId="2147375371"/>
            <ac:spMk id="2" creationId="{ADD788EC-CC59-26C7-FD69-7C2D65025721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19.411" v="48"/>
          <ac:spMkLst>
            <pc:docMk/>
            <pc:sldMk cId="834074827" sldId="2147375371"/>
            <ac:spMk id="15" creationId="{524014B2-2BA7-C2CE-C7C8-51733F660F7D}"/>
          </ac:spMkLst>
        </pc:spChg>
        <pc:spChg chg="mod">
          <ac:chgData name="Sharon Juma" userId="S::sharon.juma_fsdkenya.org#ext#@kenyabankers.onmicrosoft.com::79b8ccbd-9da9-4ae6-a1de-2f9b4ea5bbc9" providerId="AD" clId="Web-{D7A33CB3-3B11-85AB-C600-8604933830CF}" dt="2025-08-18T17:54:19.411" v="49"/>
          <ac:spMkLst>
            <pc:docMk/>
            <pc:sldMk cId="834074827" sldId="2147375371"/>
            <ac:spMk id="16" creationId="{18075719-9EE1-4FF1-E706-CD196971B2AB}"/>
          </ac:spMkLst>
        </pc:spChg>
      </pc:sldChg>
      <pc:sldChg chg="modSp">
        <pc:chgData name="Sharon Juma" userId="S::sharon.juma_fsdkenya.org#ext#@kenyabankers.onmicrosoft.com::79b8ccbd-9da9-4ae6-a1de-2f9b4ea5bbc9" providerId="AD" clId="Web-{D7A33CB3-3B11-85AB-C600-8604933830CF}" dt="2025-08-18T20:34:02.569" v="242" actId="1076"/>
        <pc:sldMkLst>
          <pc:docMk/>
          <pc:sldMk cId="1540461117" sldId="2147483608"/>
        </pc:sldMkLst>
        <pc:spChg chg="mod">
          <ac:chgData name="Sharon Juma" userId="S::sharon.juma_fsdkenya.org#ext#@kenyabankers.onmicrosoft.com::79b8ccbd-9da9-4ae6-a1de-2f9b4ea5bbc9" providerId="AD" clId="Web-{D7A33CB3-3B11-85AB-C600-8604933830CF}" dt="2025-08-18T20:34:02.569" v="242" actId="1076"/>
          <ac:spMkLst>
            <pc:docMk/>
            <pc:sldMk cId="1540461117" sldId="2147483608"/>
            <ac:spMk id="6" creationId="{9176119D-6AC2-388F-A4AD-808F3B42E792}"/>
          </ac:spMkLst>
        </pc:spChg>
      </pc:sldChg>
      <pc:sldChg chg="new del">
        <pc:chgData name="Sharon Juma" userId="S::sharon.juma_fsdkenya.org#ext#@kenyabankers.onmicrosoft.com::79b8ccbd-9da9-4ae6-a1de-2f9b4ea5bbc9" providerId="AD" clId="Web-{D7A33CB3-3B11-85AB-C600-8604933830CF}" dt="2025-08-18T17:48:49.944" v="7"/>
        <pc:sldMkLst>
          <pc:docMk/>
          <pc:sldMk cId="1640874441" sldId="2147483616"/>
        </pc:sldMkLst>
      </pc:sldChg>
      <pc:sldChg chg="add del replId">
        <pc:chgData name="Sharon Juma" userId="S::sharon.juma_fsdkenya.org#ext#@kenyabankers.onmicrosoft.com::79b8ccbd-9da9-4ae6-a1de-2f9b4ea5bbc9" providerId="AD" clId="Web-{D7A33CB3-3B11-85AB-C600-8604933830CF}" dt="2025-08-18T17:50:56.840" v="9"/>
        <pc:sldMkLst>
          <pc:docMk/>
          <pc:sldMk cId="926548201" sldId="2147483617"/>
        </pc:sldMkLst>
      </pc:sldChg>
      <pc:sldChg chg="add del replId">
        <pc:chgData name="Sharon Juma" userId="S::sharon.juma_fsdkenya.org#ext#@kenyabankers.onmicrosoft.com::79b8ccbd-9da9-4ae6-a1de-2f9b4ea5bbc9" providerId="AD" clId="Web-{D7A33CB3-3B11-85AB-C600-8604933830CF}" dt="2025-08-18T17:47:23.612" v="4"/>
        <pc:sldMkLst>
          <pc:docMk/>
          <pc:sldMk cId="1035470229" sldId="2147483617"/>
        </pc:sldMkLst>
      </pc:sldChg>
      <pc:sldChg chg="add del replId">
        <pc:chgData name="Sharon Juma" userId="S::sharon.juma_fsdkenya.org#ext#@kenyabankers.onmicrosoft.com::79b8ccbd-9da9-4ae6-a1de-2f9b4ea5bbc9" providerId="AD" clId="Web-{D7A33CB3-3B11-85AB-C600-8604933830CF}" dt="2025-08-18T17:47:19.299" v="3"/>
        <pc:sldMkLst>
          <pc:docMk/>
          <pc:sldMk cId="570884950" sldId="2147483618"/>
        </pc:sldMkLst>
      </pc:sldChg>
      <pc:sldMasterChg chg="addSldLayout">
        <pc:chgData name="Sharon Juma" userId="S::sharon.juma_fsdkenya.org#ext#@kenyabankers.onmicrosoft.com::79b8ccbd-9da9-4ae6-a1de-2f9b4ea5bbc9" providerId="AD" clId="Web-{D7A33CB3-3B11-85AB-C600-8604933830CF}" dt="2025-08-18T17:48:12.864" v="6"/>
        <pc:sldMasterMkLst>
          <pc:docMk/>
          <pc:sldMasterMk cId="1265896298" sldId="2147483648"/>
        </pc:sldMasterMkLst>
        <pc:sldLayoutChg chg="add">
          <pc:chgData name="Sharon Juma" userId="S::sharon.juma_fsdkenya.org#ext#@kenyabankers.onmicrosoft.com::79b8ccbd-9da9-4ae6-a1de-2f9b4ea5bbc9" providerId="AD" clId="Web-{D7A33CB3-3B11-85AB-C600-8604933830CF}" dt="2025-08-18T17:48:12.864" v="6"/>
          <pc:sldLayoutMkLst>
            <pc:docMk/>
            <pc:sldMasterMk cId="1265896298" sldId="2147483648"/>
            <pc:sldLayoutMk cId="3375139029" sldId="2147483678"/>
          </pc:sldLayoutMkLst>
        </pc:sldLayoutChg>
      </pc:sldMasterChg>
    </pc:docChg>
  </pc:docChgLst>
  <pc:docChgLst>
    <pc:chgData name="Sharon Juma" userId="S::sharon.juma_fsdkenya.org#ext#@kenyabankers.onmicrosoft.com::79b8ccbd-9da9-4ae6-a1de-2f9b4ea5bbc9" providerId="AD" clId="Web-{EC9122EF-AA4A-31F5-1310-B3EA0DCDA7E0}"/>
    <pc:docChg chg="modSld">
      <pc:chgData name="Sharon Juma" userId="S::sharon.juma_fsdkenya.org#ext#@kenyabankers.onmicrosoft.com::79b8ccbd-9da9-4ae6-a1de-2f9b4ea5bbc9" providerId="AD" clId="Web-{EC9122EF-AA4A-31F5-1310-B3EA0DCDA7E0}" dt="2025-08-19T06:53:29.774" v="28"/>
      <pc:docMkLst>
        <pc:docMk/>
      </pc:docMkLst>
      <pc:sldChg chg="modSp">
        <pc:chgData name="Sharon Juma" userId="S::sharon.juma_fsdkenya.org#ext#@kenyabankers.onmicrosoft.com::79b8ccbd-9da9-4ae6-a1de-2f9b4ea5bbc9" providerId="AD" clId="Web-{EC9122EF-AA4A-31F5-1310-B3EA0DCDA7E0}" dt="2025-08-19T06:53:29.774" v="28"/>
        <pc:sldMkLst>
          <pc:docMk/>
          <pc:sldMk cId="2526130461" sldId="260"/>
        </pc:sldMkLst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1"/>
          <ac:spMkLst>
            <pc:docMk/>
            <pc:sldMk cId="2526130461" sldId="260"/>
            <ac:spMk id="3" creationId="{EFBFA75B-F822-7A04-91D7-EF4383F9689A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2"/>
          <ac:spMkLst>
            <pc:docMk/>
            <pc:sldMk cId="2526130461" sldId="260"/>
            <ac:spMk id="4" creationId="{8199D0F7-854B-6E76-A8EE-63044EFE1985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3"/>
          <ac:spMkLst>
            <pc:docMk/>
            <pc:sldMk cId="2526130461" sldId="260"/>
            <ac:spMk id="6" creationId="{49158E61-CC89-5EFD-3A92-AFE6C58B1E4D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"/>
          <ac:spMkLst>
            <pc:docMk/>
            <pc:sldMk cId="2526130461" sldId="260"/>
            <ac:spMk id="8" creationId="{E25E67EC-900F-4628-A725-8793F9AE0BF4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2"/>
          <ac:spMkLst>
            <pc:docMk/>
            <pc:sldMk cId="2526130461" sldId="260"/>
            <ac:spMk id="9" creationId="{E74C16CE-0644-4A39-86C2-22796004DBB2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3"/>
          <ac:spMkLst>
            <pc:docMk/>
            <pc:sldMk cId="2526130461" sldId="260"/>
            <ac:spMk id="10" creationId="{A49030E9-3489-41E9-B049-77A2350F0A54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4"/>
          <ac:spMkLst>
            <pc:docMk/>
            <pc:sldMk cId="2526130461" sldId="260"/>
            <ac:spMk id="12" creationId="{35D2181B-5F9E-A762-20BC-1949E26B75DE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4"/>
          <ac:spMkLst>
            <pc:docMk/>
            <pc:sldMk cId="2526130461" sldId="260"/>
            <ac:spMk id="13" creationId="{472BE5D9-77EE-4091-B905-645901185668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5"/>
          <ac:spMkLst>
            <pc:docMk/>
            <pc:sldMk cId="2526130461" sldId="260"/>
            <ac:spMk id="15" creationId="{18D36901-7AE9-8183-530B-92B9BA385362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6"/>
          <ac:spMkLst>
            <pc:docMk/>
            <pc:sldMk cId="2526130461" sldId="260"/>
            <ac:spMk id="16" creationId="{900A84D2-789F-49B3-1AA4-AB14920D7839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7"/>
          <ac:spMkLst>
            <pc:docMk/>
            <pc:sldMk cId="2526130461" sldId="260"/>
            <ac:spMk id="19" creationId="{122ABFF7-DC34-42AB-BCB1-1FF973E94664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5"/>
          <ac:spMkLst>
            <pc:docMk/>
            <pc:sldMk cId="2526130461" sldId="260"/>
            <ac:spMk id="20" creationId="{7A8AB644-540B-487B-8741-236DEA4138CD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6"/>
          <ac:spMkLst>
            <pc:docMk/>
            <pc:sldMk cId="2526130461" sldId="260"/>
            <ac:spMk id="21" creationId="{9426B39B-C394-45C6-8B53-CACC5FADB299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0"/>
          <ac:spMkLst>
            <pc:docMk/>
            <pc:sldMk cId="2526130461" sldId="260"/>
            <ac:spMk id="25" creationId="{14C08CA4-3635-4963-A5AF-014D653700FE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8"/>
          <ac:spMkLst>
            <pc:docMk/>
            <pc:sldMk cId="2526130461" sldId="260"/>
            <ac:spMk id="26" creationId="{AB9B6A4E-3613-4FF1-AF78-4E3B5BA196C3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9"/>
          <ac:spMkLst>
            <pc:docMk/>
            <pc:sldMk cId="2526130461" sldId="260"/>
            <ac:spMk id="27" creationId="{C367E5AF-A3EA-4A14-81F7-7AA6A96F10AA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96" v="27"/>
          <ac:spMkLst>
            <pc:docMk/>
            <pc:sldMk cId="2526130461" sldId="260"/>
            <ac:spMk id="28" creationId="{8B8C137F-1405-A1BB-9F11-C83520E2A499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3"/>
          <ac:spMkLst>
            <pc:docMk/>
            <pc:sldMk cId="2526130461" sldId="260"/>
            <ac:spMk id="31" creationId="{C5E6D73D-90A2-4241-B0CC-CED75FD82F04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1"/>
          <ac:spMkLst>
            <pc:docMk/>
            <pc:sldMk cId="2526130461" sldId="260"/>
            <ac:spMk id="32" creationId="{EB1588B9-01AF-4ECF-A8F6-A820B70428C5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2"/>
          <ac:spMkLst>
            <pc:docMk/>
            <pc:sldMk cId="2526130461" sldId="260"/>
            <ac:spMk id="33" creationId="{1A7A7316-1222-47EC-992A-5FF198BC3F5B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774" v="28"/>
          <ac:spMkLst>
            <pc:docMk/>
            <pc:sldMk cId="2526130461" sldId="260"/>
            <ac:spMk id="34" creationId="{15B1E4BE-614D-E02C-60B2-B7B48481AA52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65" v="14"/>
          <ac:spMkLst>
            <pc:docMk/>
            <pc:sldMk cId="2526130461" sldId="260"/>
            <ac:spMk id="43" creationId="{25BF1871-5EE1-4BFF-B8E2-8441EED9CB16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15"/>
          <ac:spMkLst>
            <pc:docMk/>
            <pc:sldMk cId="2526130461" sldId="260"/>
            <ac:spMk id="72" creationId="{C28692AD-8096-45F6-95C9-F79C3C43251F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16"/>
          <ac:spMkLst>
            <pc:docMk/>
            <pc:sldMk cId="2526130461" sldId="260"/>
            <ac:spMk id="73" creationId="{901CEE87-1399-40F2-896A-1384C7698C51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17"/>
          <ac:spMkLst>
            <pc:docMk/>
            <pc:sldMk cId="2526130461" sldId="260"/>
            <ac:spMk id="82" creationId="{2F7D13D3-4F35-4D73-9F1F-E9AF23CCE8BB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18"/>
          <ac:spMkLst>
            <pc:docMk/>
            <pc:sldMk cId="2526130461" sldId="260"/>
            <ac:spMk id="83" creationId="{BA74F478-8C30-4504-A8C1-4534EEBD9372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19"/>
          <ac:spMkLst>
            <pc:docMk/>
            <pc:sldMk cId="2526130461" sldId="260"/>
            <ac:spMk id="87" creationId="{237E7B96-BBD3-41F5-92CD-D06FD44EC73F}"/>
          </ac:spMkLst>
        </pc:spChg>
        <pc:spChg chg="mod">
          <ac:chgData name="Sharon Juma" userId="S::sharon.juma_fsdkenya.org#ext#@kenyabankers.onmicrosoft.com::79b8ccbd-9da9-4ae6-a1de-2f9b4ea5bbc9" providerId="AD" clId="Web-{EC9122EF-AA4A-31F5-1310-B3EA0DCDA7E0}" dt="2025-08-19T06:53:29.181" v="20"/>
          <ac:spMkLst>
            <pc:docMk/>
            <pc:sldMk cId="2526130461" sldId="260"/>
            <ac:spMk id="88" creationId="{99E5B2ED-BEF5-4F12-8C7A-BEE857AB2E7C}"/>
          </ac:spMkLst>
        </pc:spChg>
      </pc:sldChg>
      <pc:sldChg chg="modSp">
        <pc:chgData name="Sharon Juma" userId="S::sharon.juma_fsdkenya.org#ext#@kenyabankers.onmicrosoft.com::79b8ccbd-9da9-4ae6-a1de-2f9b4ea5bbc9" providerId="AD" clId="Web-{EC9122EF-AA4A-31F5-1310-B3EA0DCDA7E0}" dt="2025-08-19T06:51:58.365" v="0" actId="1076"/>
        <pc:sldMkLst>
          <pc:docMk/>
          <pc:sldMk cId="3059293742" sldId="2236"/>
        </pc:sldMkLst>
        <pc:graphicFrameChg chg="mod">
          <ac:chgData name="Sharon Juma" userId="S::sharon.juma_fsdkenya.org#ext#@kenyabankers.onmicrosoft.com::79b8ccbd-9da9-4ae6-a1de-2f9b4ea5bbc9" providerId="AD" clId="Web-{EC9122EF-AA4A-31F5-1310-B3EA0DCDA7E0}" dt="2025-08-19T06:51:58.365" v="0" actId="1076"/>
          <ac:graphicFrameMkLst>
            <pc:docMk/>
            <pc:sldMk cId="3059293742" sldId="2236"/>
            <ac:graphicFrameMk id="7" creationId="{D21864D9-8857-CC42-C601-B6E1AD883142}"/>
          </ac:graphicFrameMkLst>
        </pc:graphicFrameChg>
      </pc:sldChg>
    </pc:docChg>
  </pc:docChgLst>
  <pc:docChgLst>
    <pc:chgData name="Christine M. Waita" userId="S::cmueni@kba.co.ke::874d82b4-df7d-4e6b-8df0-91bb520590d1" providerId="AD" clId="Web-{F632758D-AC5A-082B-BD68-8F76BF164C24}"/>
    <pc:docChg chg="modSld">
      <pc:chgData name="Christine M. Waita" userId="S::cmueni@kba.co.ke::874d82b4-df7d-4e6b-8df0-91bb520590d1" providerId="AD" clId="Web-{F632758D-AC5A-082B-BD68-8F76BF164C24}" dt="2025-08-19T05:35:45.777" v="8"/>
      <pc:docMkLst>
        <pc:docMk/>
      </pc:docMkLst>
      <pc:sldChg chg="modSp">
        <pc:chgData name="Christine M. Waita" userId="S::cmueni@kba.co.ke::874d82b4-df7d-4e6b-8df0-91bb520590d1" providerId="AD" clId="Web-{F632758D-AC5A-082B-BD68-8F76BF164C24}" dt="2025-08-19T05:35:45.777" v="8"/>
        <pc:sldMkLst>
          <pc:docMk/>
          <pc:sldMk cId="668987468" sldId="262"/>
        </pc:sldMkLst>
        <pc:spChg chg="mod">
          <ac:chgData name="Christine M. Waita" userId="S::cmueni@kba.co.ke::874d82b4-df7d-4e6b-8df0-91bb520590d1" providerId="AD" clId="Web-{F632758D-AC5A-082B-BD68-8F76BF164C24}" dt="2025-08-19T05:35:45.777" v="8"/>
          <ac:spMkLst>
            <pc:docMk/>
            <pc:sldMk cId="668987468" sldId="262"/>
            <ac:spMk id="22" creationId="{D9C17FF7-B911-4740-A02B-01A8912F4077}"/>
          </ac:spMkLst>
        </pc:spChg>
      </pc:sldChg>
      <pc:sldChg chg="modSp">
        <pc:chgData name="Christine M. Waita" userId="S::cmueni@kba.co.ke::874d82b4-df7d-4e6b-8df0-91bb520590d1" providerId="AD" clId="Web-{F632758D-AC5A-082B-BD68-8F76BF164C24}" dt="2025-08-19T05:10:42.541" v="7" actId="20577"/>
        <pc:sldMkLst>
          <pc:docMk/>
          <pc:sldMk cId="2702357505" sldId="373"/>
        </pc:sldMkLst>
        <pc:spChg chg="mod">
          <ac:chgData name="Christine M. Waita" userId="S::cmueni@kba.co.ke::874d82b4-df7d-4e6b-8df0-91bb520590d1" providerId="AD" clId="Web-{F632758D-AC5A-082B-BD68-8F76BF164C24}" dt="2025-08-19T05:10:42.541" v="7" actId="20577"/>
          <ac:spMkLst>
            <pc:docMk/>
            <pc:sldMk cId="2702357505" sldId="373"/>
            <ac:spMk id="27" creationId="{523B3300-6EF4-A178-F4E5-E0CD64A5272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902_3A7E34DC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_177_90506E384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fsdkenya.sharepoint.com/sites/Document-Center/Research/C.%20Monitoring%20&amp;%20outputs/Comms%20&amp;%20thought%20leadership/2025%20Public%20Annual%20Report/25-03-04%20Charts%20for%20PAR%20202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7B_D6BA181D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fsdkenya.sharepoint.com/sites/Document-Center/Research/C.%20Monitoring%20&amp;%20outputs/FinAccess%20plus/FinAccess%202024%20Launch/24-11-28%20Amrik's%20analytics%20for%20storylines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BC_B6591E2E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BC_B6591E2E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77_90506E3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_177_90506E382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77_90506E38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060804329539088E-2"/>
          <c:y val="7.6971782518926363E-2"/>
          <c:w val="0.93967591434248288"/>
          <c:h val="0.8056781787341963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le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06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  <c:pt idx="4">
                  <c:v>2019</c:v>
                </c:pt>
                <c:pt idx="5">
                  <c:v>2021</c:v>
                </c:pt>
                <c:pt idx="6">
                  <c:v>2024</c:v>
                </c:pt>
              </c:strCache>
            </c:strRef>
          </c:cat>
          <c:val>
            <c:numRef>
              <c:f>Sheet1!$B$2:$H$2</c:f>
              <c:numCache>
                <c:formatCode>0.0</c:formatCode>
                <c:ptCount val="7"/>
                <c:pt idx="0">
                  <c:v>33.200000000000003</c:v>
                </c:pt>
                <c:pt idx="1">
                  <c:v>48</c:v>
                </c:pt>
                <c:pt idx="2">
                  <c:v>71.099999999999994</c:v>
                </c:pt>
                <c:pt idx="3">
                  <c:v>79.7</c:v>
                </c:pt>
                <c:pt idx="4">
                  <c:v>85.700000000000017</c:v>
                </c:pt>
                <c:pt idx="5">
                  <c:v>85.9</c:v>
                </c:pt>
                <c:pt idx="6">
                  <c:v>85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3E4-4280-8656-0940DBED3B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emale</c:v>
                </c:pt>
              </c:strCache>
            </c:strRef>
          </c:tx>
          <c:spPr>
            <a:ln w="28575" cap="rnd">
              <a:solidFill>
                <a:srgbClr val="F6932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8598130841121489E-3"/>
                  <c:y val="2.66001918376857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3E4-4280-8656-0940DBED3BE6}"/>
                </c:ext>
              </c:extLst>
            </c:dLbl>
            <c:dLbl>
              <c:idx val="1"/>
              <c:layout>
                <c:manualLayout>
                  <c:x val="-3.8753894080996885E-3"/>
                  <c:y val="2.66001918376858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3E4-4280-8656-0940DBED3BE6}"/>
                </c:ext>
              </c:extLst>
            </c:dLbl>
            <c:dLbl>
              <c:idx val="2"/>
              <c:layout>
                <c:manualLayout>
                  <c:x val="-7.613707165109034E-3"/>
                  <c:y val="2.93531168204800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3E4-4280-8656-0940DBED3BE6}"/>
                </c:ext>
              </c:extLst>
            </c:dLbl>
            <c:dLbl>
              <c:idx val="3"/>
              <c:layout>
                <c:manualLayout>
                  <c:x val="-2.831145397173241E-2"/>
                  <c:y val="4.0365033517403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376150638570591E-2"/>
                      <c:h val="5.9669757384938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33E4-4280-8656-0940DBED3BE6}"/>
                </c:ext>
              </c:extLst>
            </c:dLbl>
            <c:dLbl>
              <c:idx val="4"/>
              <c:layout>
                <c:manualLayout>
                  <c:x val="-2.5942889968402879E-2"/>
                  <c:y val="2.93531168204800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3E4-4280-8656-0940DBED3BE6}"/>
                </c:ext>
              </c:extLst>
            </c:dLbl>
            <c:dLbl>
              <c:idx val="5"/>
              <c:layout>
                <c:manualLayout>
                  <c:x val="-2.5059190031152739E-2"/>
                  <c:y val="2.6600191837685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3E4-4280-8656-0940DBED3BE6}"/>
                </c:ext>
              </c:extLst>
            </c:dLbl>
            <c:dLbl>
              <c:idx val="6"/>
              <c:layout>
                <c:manualLayout>
                  <c:x val="-2.6701008168371478E-2"/>
                  <c:y val="2.66001918376858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3E4-4280-8656-0940DBED3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06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  <c:pt idx="4">
                  <c:v>2019</c:v>
                </c:pt>
                <c:pt idx="5">
                  <c:v>2021</c:v>
                </c:pt>
                <c:pt idx="6">
                  <c:v>2024</c:v>
                </c:pt>
              </c:strCache>
            </c:strRef>
          </c:cat>
          <c:val>
            <c:numRef>
              <c:f>Sheet1!$B$3:$H$3</c:f>
              <c:numCache>
                <c:formatCode>0.0</c:formatCode>
                <c:ptCount val="7"/>
                <c:pt idx="0">
                  <c:v>20.5</c:v>
                </c:pt>
                <c:pt idx="1">
                  <c:v>33.700000000000003</c:v>
                </c:pt>
                <c:pt idx="2">
                  <c:v>62.7</c:v>
                </c:pt>
                <c:pt idx="3">
                  <c:v>71.2</c:v>
                </c:pt>
                <c:pt idx="4">
                  <c:v>80.400000000000006</c:v>
                </c:pt>
                <c:pt idx="5">
                  <c:v>81.7</c:v>
                </c:pt>
                <c:pt idx="6">
                  <c:v>84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E4-4280-8656-0940DBED3B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0410255"/>
        <c:axId val="1810414095"/>
      </c:lineChart>
      <c:catAx>
        <c:axId val="1810410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0414095"/>
        <c:crosses val="autoZero"/>
        <c:auto val="1"/>
        <c:lblAlgn val="ctr"/>
        <c:lblOffset val="100"/>
        <c:noMultiLvlLbl val="0"/>
      </c:catAx>
      <c:valAx>
        <c:axId val="1810414095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18104102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pPr>
            <a:r>
              <a:rPr lang="en-US" sz="1000" b="1" i="0" u="none" strike="noStrike" baseline="0">
                <a:solidFill>
                  <a:schemeClr val="tx1"/>
                </a:solidFill>
                <a:latin typeface="VAG Rounded Std Thin" panose="020F0402020204020204" pitchFamily="34" charset="0"/>
              </a:rPr>
              <a:t>60 DPD Rates by Gender of the MSME Proprietor</a:t>
            </a:r>
            <a:endParaRPr lang="en-US" sz="1000" b="1">
              <a:solidFill>
                <a:schemeClr val="tx1"/>
              </a:solidFill>
              <a:latin typeface="VAG Rounded Std Thin" panose="020F0402020204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VAG Rounded Std Thin" panose="020F0402020204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ysClr val="windowText" lastClr="000000">
                  <a:lumMod val="65000"/>
                  <a:lumOff val="35000"/>
                </a:sysClr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DF-4CFA-8F88-8E08F5EC58C9}"/>
              </c:ext>
            </c:extLst>
          </c:dPt>
          <c:dPt>
            <c:idx val="1"/>
            <c:invertIfNegative val="0"/>
            <c:bubble3D val="0"/>
            <c:spPr>
              <a:solidFill>
                <a:srgbClr val="F6932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DF-4CFA-8F88-8E08F5EC58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8:$E$8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D$9:$E$9</c:f>
              <c:numCache>
                <c:formatCode>0%</c:formatCode>
                <c:ptCount val="2"/>
                <c:pt idx="0">
                  <c:v>0.05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DF-4CFA-8F88-8E08F5EC5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5290200"/>
        <c:axId val="605288040"/>
      </c:barChart>
      <c:catAx>
        <c:axId val="605290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5288040"/>
        <c:crosses val="autoZero"/>
        <c:auto val="1"/>
        <c:lblAlgn val="ctr"/>
        <c:lblOffset val="100"/>
        <c:noMultiLvlLbl val="0"/>
      </c:catAx>
      <c:valAx>
        <c:axId val="6052880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5290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ysClr val="window" lastClr="FFFFFF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ender!$D$34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rgbClr val="F693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ender!$C$35:$C$40</c:f>
              <c:strCache>
                <c:ptCount val="6"/>
                <c:pt idx="0">
                  <c:v>Mobile money</c:v>
                </c:pt>
                <c:pt idx="1">
                  <c:v>Bank</c:v>
                </c:pt>
                <c:pt idx="2">
                  <c:v>Chama</c:v>
                </c:pt>
                <c:pt idx="3">
                  <c:v>Pension</c:v>
                </c:pt>
                <c:pt idx="4">
                  <c:v>Insurance</c:v>
                </c:pt>
                <c:pt idx="5">
                  <c:v>Sacco</c:v>
                </c:pt>
              </c:strCache>
            </c:strRef>
          </c:cat>
          <c:val>
            <c:numRef>
              <c:f>gender!$D$35:$D$40</c:f>
              <c:numCache>
                <c:formatCode>General</c:formatCode>
                <c:ptCount val="6"/>
                <c:pt idx="0">
                  <c:v>81.400000000000006</c:v>
                </c:pt>
                <c:pt idx="1">
                  <c:v>46.5</c:v>
                </c:pt>
                <c:pt idx="2">
                  <c:v>38.200000000000003</c:v>
                </c:pt>
                <c:pt idx="3">
                  <c:v>7.7</c:v>
                </c:pt>
                <c:pt idx="4">
                  <c:v>16.100000000000001</c:v>
                </c:pt>
                <c:pt idx="5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1-4963-B91A-8705DB0954A0}"/>
            </c:ext>
          </c:extLst>
        </c:ser>
        <c:ser>
          <c:idx val="1"/>
          <c:order val="1"/>
          <c:tx>
            <c:strRef>
              <c:f>gender!$E$34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ender!$C$35:$C$40</c:f>
              <c:strCache>
                <c:ptCount val="6"/>
                <c:pt idx="0">
                  <c:v>Mobile money</c:v>
                </c:pt>
                <c:pt idx="1">
                  <c:v>Bank</c:v>
                </c:pt>
                <c:pt idx="2">
                  <c:v>Chama</c:v>
                </c:pt>
                <c:pt idx="3">
                  <c:v>Pension</c:v>
                </c:pt>
                <c:pt idx="4">
                  <c:v>Insurance</c:v>
                </c:pt>
                <c:pt idx="5">
                  <c:v>Sacco</c:v>
                </c:pt>
              </c:strCache>
            </c:strRef>
          </c:cat>
          <c:val>
            <c:numRef>
              <c:f>gender!$E$35:$E$40</c:f>
              <c:numCache>
                <c:formatCode>General</c:formatCode>
                <c:ptCount val="6"/>
                <c:pt idx="0">
                  <c:v>83.2</c:v>
                </c:pt>
                <c:pt idx="1">
                  <c:v>58.9</c:v>
                </c:pt>
                <c:pt idx="2">
                  <c:v>22.8</c:v>
                </c:pt>
                <c:pt idx="3">
                  <c:v>16.100000000000001</c:v>
                </c:pt>
                <c:pt idx="4">
                  <c:v>28.2</c:v>
                </c:pt>
                <c:pt idx="5">
                  <c:v>1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1-4963-B91A-8705DB0954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41255935"/>
        <c:axId val="541254975"/>
      </c:barChart>
      <c:catAx>
        <c:axId val="541255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1254975"/>
        <c:crosses val="autoZero"/>
        <c:auto val="1"/>
        <c:lblAlgn val="ctr"/>
        <c:lblOffset val="100"/>
        <c:noMultiLvlLbl val="0"/>
      </c:catAx>
      <c:valAx>
        <c:axId val="5412549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12559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455781870241423E-2"/>
          <c:y val="3.5482896888609221E-2"/>
          <c:w val="0.9171743834190148"/>
          <c:h val="0.787521845633639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693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6B0-4E07-A825-9C70904FC49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Male</c:v>
                </c:pt>
                <c:pt idx="1">
                  <c:v>Female</c:v>
                </c:pt>
                <c:pt idx="2">
                  <c:v>&lt;25</c:v>
                </c:pt>
                <c:pt idx="3">
                  <c:v>26 - 35</c:v>
                </c:pt>
                <c:pt idx="4">
                  <c:v>36+</c:v>
                </c:pt>
                <c:pt idx="5">
                  <c:v>0 paid employees</c:v>
                </c:pt>
                <c:pt idx="6">
                  <c:v>1 - 20 paid employees</c:v>
                </c:pt>
                <c:pt idx="7">
                  <c:v>All business owners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14000</c:v>
                </c:pt>
                <c:pt idx="1">
                  <c:v>6400</c:v>
                </c:pt>
                <c:pt idx="2" formatCode="General">
                  <c:v>8000</c:v>
                </c:pt>
                <c:pt idx="3" formatCode="General">
                  <c:v>9000</c:v>
                </c:pt>
                <c:pt idx="4">
                  <c:v>9500</c:v>
                </c:pt>
                <c:pt idx="5">
                  <c:v>8000</c:v>
                </c:pt>
                <c:pt idx="6">
                  <c:v>20000</c:v>
                </c:pt>
                <c:pt idx="7">
                  <c:v>9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28-4E83-B376-8CABC71B0B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34772287"/>
        <c:axId val="1134767007"/>
      </c:barChart>
      <c:catAx>
        <c:axId val="1134772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767007"/>
        <c:crosses val="autoZero"/>
        <c:auto val="1"/>
        <c:lblAlgn val="ctr"/>
        <c:lblOffset val="100"/>
        <c:noMultiLvlLbl val="0"/>
      </c:catAx>
      <c:valAx>
        <c:axId val="1134767007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772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1"/>
              <a:t>Financial Health by main livelihood group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7871512005191438E-3"/>
          <c:y val="0.22043148952495145"/>
          <c:w val="0.94289422452952631"/>
          <c:h val="0.604726799147924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inancial health'!$C$3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5957170668397152E-2"/>
                  <c:y val="-8.3217753120665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A8-4EAF-B586-E0275B1D9FFF}"/>
                </c:ext>
              </c:extLst>
            </c:dLbl>
            <c:dLbl>
              <c:idx val="4"/>
              <c:layout>
                <c:manualLayout>
                  <c:x val="-1.8170019467878003E-2"/>
                  <c:y val="-1.271367652395893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D11-48C4-9BC5-EA2FDE729C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inancial health'!$B$32:$B$36</c:f>
              <c:strCache>
                <c:ptCount val="5"/>
                <c:pt idx="0">
                  <c:v>Overall</c:v>
                </c:pt>
                <c:pt idx="1">
                  <c:v>Casual</c:v>
                </c:pt>
                <c:pt idx="2">
                  <c:v>Farmer</c:v>
                </c:pt>
                <c:pt idx="3">
                  <c:v>Business</c:v>
                </c:pt>
                <c:pt idx="4">
                  <c:v>Employed</c:v>
                </c:pt>
              </c:strCache>
            </c:strRef>
          </c:cat>
          <c:val>
            <c:numRef>
              <c:f>'financial health'!$C$32:$C$36</c:f>
              <c:numCache>
                <c:formatCode>General</c:formatCode>
                <c:ptCount val="5"/>
                <c:pt idx="0">
                  <c:v>17.100000000000001</c:v>
                </c:pt>
                <c:pt idx="1">
                  <c:v>11.1</c:v>
                </c:pt>
                <c:pt idx="2">
                  <c:v>17.8</c:v>
                </c:pt>
                <c:pt idx="3">
                  <c:v>32.6</c:v>
                </c:pt>
                <c:pt idx="4">
                  <c:v>4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8-406E-9836-3E5DE917F288}"/>
            </c:ext>
          </c:extLst>
        </c:ser>
        <c:ser>
          <c:idx val="1"/>
          <c:order val="1"/>
          <c:tx>
            <c:strRef>
              <c:f>'financial health'!$D$3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1.7055912012793734E-2"/>
                  <c:y val="2.606960920372024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A8-4EAF-B586-E0275B1D9FFF}"/>
                </c:ext>
              </c:extLst>
            </c:dLbl>
            <c:dLbl>
              <c:idx val="3"/>
              <c:layout>
                <c:manualLayout>
                  <c:x val="1.0382868267358857E-2"/>
                  <c:y val="-1.0170941219167151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2A8-4EAF-B586-E0275B1D9FFF}"/>
                </c:ext>
              </c:extLst>
            </c:dLbl>
            <c:dLbl>
              <c:idx val="4"/>
              <c:layout>
                <c:manualLayout>
                  <c:x val="1.5574302401038097E-2"/>
                  <c:y val="-5.0854706095835754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A8-4EAF-B586-E0275B1D9F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ial health'!$B$32:$B$36</c:f>
              <c:strCache>
                <c:ptCount val="5"/>
                <c:pt idx="0">
                  <c:v>Overall</c:v>
                </c:pt>
                <c:pt idx="1">
                  <c:v>Casual</c:v>
                </c:pt>
                <c:pt idx="2">
                  <c:v>Farmer</c:v>
                </c:pt>
                <c:pt idx="3">
                  <c:v>Business</c:v>
                </c:pt>
                <c:pt idx="4">
                  <c:v>Employed</c:v>
                </c:pt>
              </c:strCache>
            </c:strRef>
          </c:cat>
          <c:val>
            <c:numRef>
              <c:f>'financial health'!$D$32:$D$36</c:f>
              <c:numCache>
                <c:formatCode>General</c:formatCode>
                <c:ptCount val="5"/>
                <c:pt idx="0">
                  <c:v>18.3</c:v>
                </c:pt>
                <c:pt idx="1">
                  <c:v>8.6</c:v>
                </c:pt>
                <c:pt idx="2">
                  <c:v>15.6</c:v>
                </c:pt>
                <c:pt idx="3">
                  <c:v>25.6</c:v>
                </c:pt>
                <c:pt idx="4">
                  <c:v>4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B8-406E-9836-3E5DE917F2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38081023"/>
        <c:axId val="1438083903"/>
      </c:barChart>
      <c:catAx>
        <c:axId val="14380810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8083903"/>
        <c:crosses val="autoZero"/>
        <c:auto val="1"/>
        <c:lblAlgn val="ctr"/>
        <c:lblOffset val="100"/>
        <c:noMultiLvlLbl val="0"/>
      </c:catAx>
      <c:valAx>
        <c:axId val="143808390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38081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spc="0" baseline="0">
                <a:solidFill>
                  <a:schemeClr val="accent3"/>
                </a:solidFill>
              </a:rPr>
              <a:t>Female-business owners </a:t>
            </a:r>
            <a:endParaRPr lang="en-US" sz="1600" b="0" i="0" u="none" strike="noStrike" kern="1200" spc="0" baseline="0">
              <a:solidFill>
                <a:schemeClr val="accent3"/>
              </a:solidFill>
            </a:endParaRPr>
          </a:p>
        </c:rich>
      </c:tx>
      <c:layout>
        <c:manualLayout>
          <c:xMode val="edge"/>
          <c:yMode val="edge"/>
          <c:x val="0.224780583269444"/>
          <c:y val="3.6844515047637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8E5C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ay to day</c:v>
                </c:pt>
                <c:pt idx="1">
                  <c:v>Shocks</c:v>
                </c:pt>
                <c:pt idx="2">
                  <c:v>Invest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49.41</c:v>
                </c:pt>
                <c:pt idx="1">
                  <c:v>33.14</c:v>
                </c:pt>
                <c:pt idx="2">
                  <c:v>59.7</c:v>
                </c:pt>
                <c:pt idx="3" formatCode="General">
                  <c:v>2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5B-4709-9911-B133F97EC5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4323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ay to day</c:v>
                </c:pt>
                <c:pt idx="1">
                  <c:v>Shocks</c:v>
                </c:pt>
                <c:pt idx="2">
                  <c:v>Invest</c:v>
                </c:pt>
                <c:pt idx="3">
                  <c:v>Overall</c:v>
                </c:pt>
              </c:strCache>
            </c:strRef>
          </c:cat>
          <c:val>
            <c:numRef>
              <c:f>Sheet1!$C$2:$C$5</c:f>
              <c:numCache>
                <c:formatCode>0.0</c:formatCode>
                <c:ptCount val="4"/>
                <c:pt idx="0">
                  <c:v>48.68</c:v>
                </c:pt>
                <c:pt idx="1">
                  <c:v>36.33</c:v>
                </c:pt>
                <c:pt idx="2">
                  <c:v>21.35</c:v>
                </c:pt>
                <c:pt idx="3" formatCode="General">
                  <c:v>19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5B-4709-9911-B133F97EC5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39284880"/>
        <c:axId val="1739284400"/>
      </c:barChart>
      <c:catAx>
        <c:axId val="173928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9284400"/>
        <c:crosses val="autoZero"/>
        <c:auto val="1"/>
        <c:lblAlgn val="ctr"/>
        <c:lblOffset val="100"/>
        <c:noMultiLvlLbl val="0"/>
      </c:catAx>
      <c:valAx>
        <c:axId val="173928440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739284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spc="0" baseline="0">
                <a:solidFill>
                  <a:schemeClr val="tx2">
                    <a:lumMod val="60000"/>
                    <a:lumOff val="40000"/>
                  </a:schemeClr>
                </a:solidFill>
              </a:rPr>
              <a:t>Male-business owners </a:t>
            </a:r>
            <a:endParaRPr lang="en-US" sz="1600" b="0" i="0" u="none" strike="noStrike" kern="1200" spc="0" baseline="0">
              <a:solidFill>
                <a:schemeClr val="tx2">
                  <a:lumMod val="60000"/>
                  <a:lumOff val="40000"/>
                </a:schemeClr>
              </a:solidFill>
            </a:endParaRPr>
          </a:p>
        </c:rich>
      </c:tx>
      <c:layout>
        <c:manualLayout>
          <c:xMode val="edge"/>
          <c:yMode val="edge"/>
          <c:x val="0.15438463772793287"/>
          <c:y val="3.46386398898421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1148604802076575E-2"/>
          <c:y val="0.1791452788975483"/>
          <c:w val="0.94289422452952631"/>
          <c:h val="0.586115788907686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8E5C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ay to day</c:v>
                </c:pt>
                <c:pt idx="1">
                  <c:v>Shocks</c:v>
                </c:pt>
                <c:pt idx="2">
                  <c:v>Investing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56.59</c:v>
                </c:pt>
                <c:pt idx="1">
                  <c:v>44.1</c:v>
                </c:pt>
                <c:pt idx="2">
                  <c:v>66.61</c:v>
                </c:pt>
                <c:pt idx="3">
                  <c:v>38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7D-4394-9B46-5E185EB750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4323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ay to day</c:v>
                </c:pt>
                <c:pt idx="1">
                  <c:v>Shocks</c:v>
                </c:pt>
                <c:pt idx="2">
                  <c:v>Investing</c:v>
                </c:pt>
                <c:pt idx="3">
                  <c:v>Overall</c:v>
                </c:pt>
              </c:strCache>
            </c:strRef>
          </c:cat>
          <c:val>
            <c:numRef>
              <c:f>Sheet1!$C$2:$C$5</c:f>
              <c:numCache>
                <c:formatCode>0.0</c:formatCode>
                <c:ptCount val="4"/>
                <c:pt idx="0">
                  <c:v>60.46</c:v>
                </c:pt>
                <c:pt idx="1">
                  <c:v>45.49</c:v>
                </c:pt>
                <c:pt idx="2">
                  <c:v>28.14</c:v>
                </c:pt>
                <c:pt idx="3">
                  <c:v>33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7D-4394-9B46-5E185EB750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39284880"/>
        <c:axId val="1739284400"/>
      </c:barChart>
      <c:catAx>
        <c:axId val="173928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9284400"/>
        <c:crosses val="autoZero"/>
        <c:auto val="1"/>
        <c:lblAlgn val="ctr"/>
        <c:lblOffset val="100"/>
        <c:noMultiLvlLbl val="0"/>
      </c:catAx>
      <c:valAx>
        <c:axId val="1739284400"/>
        <c:scaling>
          <c:orientation val="minMax"/>
          <c:max val="80"/>
        </c:scaling>
        <c:delete val="1"/>
        <c:axPos val="l"/>
        <c:numFmt formatCode="0.0" sourceLinked="1"/>
        <c:majorTickMark val="out"/>
        <c:minorTickMark val="none"/>
        <c:tickLblPos val="nextTo"/>
        <c:crossAx val="1739284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pPr>
            <a:r>
              <a:rPr lang="en-US" sz="1200" b="1" i="0" u="none" strike="noStrike" baseline="0">
                <a:solidFill>
                  <a:schemeClr val="tx1"/>
                </a:solidFill>
                <a:latin typeface="VAG Rounded Std Thin" panose="020F0402020204020204" pitchFamily="34" charset="0"/>
              </a:rPr>
              <a:t>Number of MSME Loans </a:t>
            </a:r>
            <a:endParaRPr lang="en-US" sz="1200" b="1">
              <a:solidFill>
                <a:schemeClr val="tx1"/>
              </a:solidFill>
              <a:latin typeface="VAG Rounded Std Thin" panose="020F0402020204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VAG Rounded Std Thin" panose="020F0402020204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bg2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E11-4161-9BEA-A43624482720}"/>
              </c:ext>
            </c:extLst>
          </c:dPt>
          <c:dPt>
            <c:idx val="1"/>
            <c:bubble3D val="0"/>
            <c:spPr>
              <a:solidFill>
                <a:srgbClr val="F693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E11-4161-9BEA-A43624482720}"/>
              </c:ext>
            </c:extLst>
          </c:dPt>
          <c:dLbls>
            <c:dLbl>
              <c:idx val="0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11-4161-9BEA-A43624482720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11-4161-9BEA-A436244827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VAG Rounded Std Thin" panose="020F0402020204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D$4:$E$4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D$5:$E$5</c:f>
              <c:numCache>
                <c:formatCode>0%</c:formatCode>
                <c:ptCount val="2"/>
                <c:pt idx="0">
                  <c:v>0.6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11-4161-9BEA-A43624482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pPr>
            <a:r>
              <a:rPr lang="en-US" sz="1000" b="1" i="0" u="none" strike="noStrike" baseline="0">
                <a:solidFill>
                  <a:schemeClr val="tx1"/>
                </a:solidFill>
                <a:latin typeface="VAG Rounded Std Thin" panose="020F0402020204020204" pitchFamily="34" charset="0"/>
              </a:rPr>
              <a:t>90DPD Days by Gender of the MSME Proprietor</a:t>
            </a:r>
            <a:endParaRPr lang="en-US" sz="1000" b="1">
              <a:solidFill>
                <a:schemeClr val="tx1"/>
              </a:solidFill>
              <a:latin typeface="VAG Rounded Std Thin" panose="020F0402020204020204" pitchFamily="34" charset="0"/>
            </a:endParaRPr>
          </a:p>
        </c:rich>
      </c:tx>
      <c:layout>
        <c:manualLayout>
          <c:xMode val="edge"/>
          <c:yMode val="edge"/>
          <c:x val="0.22207691644454822"/>
          <c:y val="3.64253621861718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VAG Rounded Std Thin" panose="020F0402020204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ysClr val="windowText" lastClr="000000">
                  <a:lumMod val="65000"/>
                  <a:lumOff val="35000"/>
                </a:sysClr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DE7-4BEC-BC65-E9B1C9A1BDE1}"/>
              </c:ext>
            </c:extLst>
          </c:dPt>
          <c:dPt>
            <c:idx val="1"/>
            <c:invertIfNegative val="0"/>
            <c:bubble3D val="0"/>
            <c:spPr>
              <a:solidFill>
                <a:srgbClr val="F69320"/>
              </a:solidFill>
              <a:ln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DE7-4BEC-BC65-E9B1C9A1BD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8:$E$8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D$9:$E$9</c:f>
              <c:numCache>
                <c:formatCode>0%</c:formatCode>
                <c:ptCount val="2"/>
                <c:pt idx="0">
                  <c:v>0.03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E7-4BEC-BC65-E9B1C9A1BD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5290200"/>
        <c:axId val="605288040"/>
      </c:barChart>
      <c:catAx>
        <c:axId val="605290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5288040"/>
        <c:crosses val="autoZero"/>
        <c:auto val="1"/>
        <c:lblAlgn val="ctr"/>
        <c:lblOffset val="100"/>
        <c:noMultiLvlLbl val="0"/>
      </c:catAx>
      <c:valAx>
        <c:axId val="6052880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5290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ysClr val="window" lastClr="FFFFFF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pPr>
            <a:r>
              <a:rPr lang="en-US" sz="1200" b="1">
                <a:solidFill>
                  <a:schemeClr val="tx1"/>
                </a:solidFill>
                <a:latin typeface="VAG Rounded Std Thin" panose="020F0402020204020204" pitchFamily="34" charset="0"/>
              </a:rPr>
              <a:t>Amount</a:t>
            </a:r>
            <a:r>
              <a:rPr lang="en-US" sz="1200" b="1" baseline="0">
                <a:solidFill>
                  <a:schemeClr val="tx1"/>
                </a:solidFill>
                <a:latin typeface="VAG Rounded Std Thin" panose="020F0402020204020204" pitchFamily="34" charset="0"/>
              </a:rPr>
              <a:t>  Disbursed to MSMEs</a:t>
            </a:r>
            <a:endParaRPr lang="en-US" sz="1200" b="1">
              <a:solidFill>
                <a:schemeClr val="tx1"/>
              </a:solidFill>
              <a:latin typeface="VAG Rounded Std Thin" panose="020F0402020204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VAG Rounded Std Thin" panose="020F0402020204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69320"/>
            </a:solidFill>
          </c:spPr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67C-488A-99CE-1AC6D44EEACB}"/>
              </c:ext>
            </c:extLst>
          </c:dPt>
          <c:dPt>
            <c:idx val="1"/>
            <c:bubble3D val="0"/>
            <c:spPr>
              <a:solidFill>
                <a:srgbClr val="F6932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67C-488A-99CE-1AC6D44EEACB}"/>
              </c:ext>
            </c:extLst>
          </c:dPt>
          <c:dLbls>
            <c:dLbl>
              <c:idx val="0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7C-488A-99CE-1AC6D44EEACB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7C-488A-99CE-1AC6D44EEA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VAG Rounded Std Thin" panose="020F0402020204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D$4:$E$4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D$5:$E$5</c:f>
              <c:numCache>
                <c:formatCode>0%</c:formatCode>
                <c:ptCount val="2"/>
                <c:pt idx="0">
                  <c:v>0.6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67C-488A-99CE-1AC6D44EEA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/>
      </a:solidFill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36A6D36-85B3-4878-9B7C-2D91BBE84FE3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9CC7A77-C475-4DB1-A77C-AE3ED00AA8F2}">
      <dgm:prSet phldrT="[Text]" custT="1"/>
      <dgm:spPr>
        <a:solidFill>
          <a:srgbClr val="C14761"/>
        </a:solidFill>
      </dgm:spPr>
      <dgm:t>
        <a:bodyPr/>
        <a:lstStyle/>
        <a:p>
          <a:pPr algn="l"/>
          <a:r>
            <a:rPr lang="en-GB" sz="2000" b="1" u="sng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. Dialogue &amp; alignment</a:t>
          </a:r>
        </a:p>
      </dgm:t>
    </dgm:pt>
    <dgm:pt modelId="{D7BD8E3D-1D49-49AF-A052-C06D8B558A8B}" type="parTrans" cxnId="{E3E95F5A-C733-42CC-8FAD-8C8B307887AC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FD563FE-E99F-4170-ADAF-84D566907F4E}" type="sibTrans" cxnId="{E3E95F5A-C733-42CC-8FAD-8C8B307887AC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1BA2D93-A25B-410C-A343-725440CFFC4A}">
      <dgm:prSet phldrT="[Text]" custT="1"/>
      <dgm:spPr>
        <a:solidFill>
          <a:srgbClr val="C14761"/>
        </a:solidFill>
      </dgm:spPr>
      <dgm:t>
        <a:bodyPr/>
        <a:lstStyle/>
        <a:p>
          <a:r>
            <a:rPr lang="en-US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nable structured conversations for better coordination and shared learning across stakeholders.</a:t>
          </a:r>
          <a:endParaRPr lang="en-GB" sz="1600">
            <a:latin typeface="VAG Rounded Std Thin" panose="020F04020202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0728C215-924E-4575-B295-993788A386F8}" type="parTrans" cxnId="{3024374B-26A6-4667-9ED1-E695D6BB5DCA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0AE18A5-7BD7-4109-AEEC-C788EB96F68F}" type="sibTrans" cxnId="{3024374B-26A6-4667-9ED1-E695D6BB5DCA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0628B95B-AE30-409A-9D09-69F31C50665A}">
      <dgm:prSet phldrT="[Text]" custT="1"/>
      <dgm:spPr>
        <a:solidFill>
          <a:srgbClr val="F7B21D"/>
        </a:solidFill>
      </dgm:spPr>
      <dgm:t>
        <a:bodyPr/>
        <a:lstStyle/>
        <a:p>
          <a:pPr algn="l"/>
          <a:r>
            <a:rPr lang="en-GB" sz="2000" b="1" u="sng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. Data commitment</a:t>
          </a:r>
        </a:p>
      </dgm:t>
    </dgm:pt>
    <dgm:pt modelId="{DD577BC6-AC5E-40DC-A6B4-F6987F987477}" type="parTrans" cxnId="{318DCDE4-95AB-4FC5-80CF-8983FE681E60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A90D473C-6E67-4C4A-A416-C59FE2D57188}" type="sibTrans" cxnId="{318DCDE4-95AB-4FC5-80CF-8983FE681E60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8D4316F-2522-4F39-9806-6A85678D0BF4}">
      <dgm:prSet phldrT="[Text]" custT="1"/>
      <dgm:spPr>
        <a:solidFill>
          <a:srgbClr val="F7B21D"/>
        </a:solidFill>
      </dgm:spPr>
      <dgm:t>
        <a:bodyPr/>
        <a:lstStyle/>
        <a:p>
          <a:r>
            <a:rPr lang="en-GB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mitments to collect, report, and use </a:t>
          </a:r>
          <a:r>
            <a:rPr lang="en-GB" sz="1600" b="1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ender- </a:t>
          </a:r>
          <a:r>
            <a:rPr lang="en-GB" sz="1600" b="1" err="1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Dissagregated</a:t>
          </a:r>
          <a:r>
            <a:rPr lang="en-GB" sz="1600" b="1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data </a:t>
          </a:r>
          <a:r>
            <a:rPr lang="en-GB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o drive solutions.</a:t>
          </a:r>
        </a:p>
      </dgm:t>
    </dgm:pt>
    <dgm:pt modelId="{76EAD1FA-C30A-454F-A141-47281367339C}" type="parTrans" cxnId="{FEEA5AA0-CC73-41AD-BDE8-9BB643524AAB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D9C7DD7-AE9E-4EE3-9A48-478EE2A778FA}" type="sibTrans" cxnId="{FEEA5AA0-CC73-41AD-BDE8-9BB643524AAB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62E94DB-F183-4938-9289-6C69970E37AD}">
      <dgm:prSet phldrT="[Text]" custT="1"/>
      <dgm:spPr>
        <a:solidFill>
          <a:srgbClr val="A24FB9"/>
        </a:solidFill>
      </dgm:spPr>
      <dgm:t>
        <a:bodyPr/>
        <a:lstStyle/>
        <a:p>
          <a:pPr algn="l"/>
          <a:r>
            <a:rPr lang="en-GB" sz="2000" b="1" u="sng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3. Unite the sector</a:t>
          </a:r>
        </a:p>
      </dgm:t>
    </dgm:pt>
    <dgm:pt modelId="{FD5DD3B4-C456-4E6E-B853-56A08D0C2D53}" type="parTrans" cxnId="{AA185649-4D9B-437A-9619-025E8AC756B9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DEB2221-4DEE-45D5-857C-84331090166D}" type="sibTrans" cxnId="{AA185649-4D9B-437A-9619-025E8AC756B9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333610B-8366-4957-A66E-E11F7F3E2D24}">
      <dgm:prSet phldrT="[Text]" custT="1"/>
      <dgm:spPr>
        <a:solidFill>
          <a:srgbClr val="A24FB9"/>
        </a:solidFill>
      </dgm:spPr>
      <dgm:t>
        <a:bodyPr/>
        <a:lstStyle/>
        <a:p>
          <a:r>
            <a:rPr lang="en-GB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Bring together ecosystem players to drive the Code and intended WMSME outcomes collaboratively.</a:t>
          </a:r>
        </a:p>
      </dgm:t>
    </dgm:pt>
    <dgm:pt modelId="{CBE0E33A-A487-406E-83C9-EFF735A615CA}" type="parTrans" cxnId="{BCEFB0A1-EAD9-4F5B-A81F-CD26A1357E36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3FBF35D-3C62-47B2-8116-7A2667B95D5E}" type="sibTrans" cxnId="{BCEFB0A1-EAD9-4F5B-A81F-CD26A1357E36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E2FE13B-5B48-455A-A8A9-FC2BEFC4E703}">
      <dgm:prSet custT="1"/>
      <dgm:spPr>
        <a:solidFill>
          <a:srgbClr val="C3A6CE"/>
        </a:solidFill>
      </dgm:spPr>
      <dgm:t>
        <a:bodyPr/>
        <a:lstStyle/>
        <a:p>
          <a:pPr algn="l"/>
          <a:r>
            <a:rPr lang="en-GB" sz="2000" b="1" u="sng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4</a:t>
          </a:r>
          <a:r>
            <a:rPr lang="en-GB" sz="2000" b="1" u="sng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. Define priorities &amp; roadmap</a:t>
          </a:r>
          <a:endParaRPr lang="en-GB" sz="2000" u="sng">
            <a:latin typeface="VAG Rounded Std Thin" panose="020F04020202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D57BFA6-C923-4030-B050-08873A8F47B9}" type="parTrans" cxnId="{85F2F8B6-2A62-4290-A75C-2C40B3B34C04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BB9DED9-B5A3-4996-8F0A-7ED39F4DF6CF}" type="sibTrans" cxnId="{85F2F8B6-2A62-4290-A75C-2C40B3B34C04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A86E098-774A-43E0-91E3-11A531C83DA4}">
      <dgm:prSet custT="1"/>
      <dgm:spPr>
        <a:solidFill>
          <a:srgbClr val="C3A6CE"/>
        </a:solidFill>
      </dgm:spPr>
      <dgm:t>
        <a:bodyPr/>
        <a:lstStyle/>
        <a:p>
          <a:r>
            <a:rPr lang="en-GB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elp shape clear timelines, priorities, and actions for Code adoption and action</a:t>
          </a:r>
        </a:p>
      </dgm:t>
    </dgm:pt>
    <dgm:pt modelId="{49FA9BED-1E40-444C-99EC-B79BD008A02A}" type="parTrans" cxnId="{501BB1A1-DBCA-43EF-B8F2-01680F508FA7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5595C5B-EA21-41E2-8E13-05E2D63C5D15}" type="sibTrans" cxnId="{501BB1A1-DBCA-43EF-B8F2-01680F508FA7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5935E4B-A2DF-4CD7-AE5C-2FFFAAC2E7BE}">
      <dgm:prSet custT="1"/>
      <dgm:spPr>
        <a:solidFill>
          <a:schemeClr val="accent3"/>
        </a:solidFill>
      </dgm:spPr>
      <dgm:t>
        <a:bodyPr/>
        <a:lstStyle/>
        <a:p>
          <a:pPr algn="l"/>
          <a:r>
            <a:rPr lang="en-GB" sz="2000" b="1" u="sng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5. Engage policymakers</a:t>
          </a:r>
          <a:endParaRPr lang="en-GB" sz="2000" u="sng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E6E9AAD-F635-4D49-A616-BF6C5620522D}" type="parTrans" cxnId="{50C8530A-73D6-48DF-BE2E-26519CEFA07F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8A095D7-2F47-4B80-ACAA-3C564BA12914}" type="sibTrans" cxnId="{50C8530A-73D6-48DF-BE2E-26519CEFA07F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9DD207E-5A63-457A-BD63-06DA2354386E}">
      <dgm:prSet custT="1"/>
      <dgm:spPr>
        <a:solidFill>
          <a:schemeClr val="accent3"/>
        </a:solidFill>
      </dgm:spPr>
      <dgm:t>
        <a:bodyPr/>
        <a:lstStyle/>
        <a:p>
          <a:r>
            <a:rPr lang="en-GB" sz="16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ct as a platform to influence policies that support WMSME solutions</a:t>
          </a:r>
        </a:p>
      </dgm:t>
    </dgm:pt>
    <dgm:pt modelId="{920288E1-DA1C-4CF4-99F4-F0AD5F1BDC70}" type="parTrans" cxnId="{A3F36149-64CB-4AD1-B3FF-475F31C7414B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2B82993-04E1-489C-ABDE-57C525BAA038}" type="sibTrans" cxnId="{A3F36149-64CB-4AD1-B3FF-475F31C7414B}">
      <dgm:prSet/>
      <dgm:spPr/>
      <dgm:t>
        <a:bodyPr/>
        <a:lstStyle/>
        <a:p>
          <a:endParaRPr lang="en-GB" sz="16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4DA6C6D-4DAF-4E19-92F6-3FC14336FF28}" type="pres">
      <dgm:prSet presAssocID="{736A6D36-85B3-4878-9B7C-2D91BBE84FE3}" presName="diagram" presStyleCnt="0">
        <dgm:presLayoutVars>
          <dgm:dir/>
          <dgm:resizeHandles val="exact"/>
        </dgm:presLayoutVars>
      </dgm:prSet>
      <dgm:spPr/>
    </dgm:pt>
    <dgm:pt modelId="{5650D2B2-37D4-40CE-95FE-6494FD7AA9E8}" type="pres">
      <dgm:prSet presAssocID="{39CC7A77-C475-4DB1-A77C-AE3ED00AA8F2}" presName="node" presStyleLbl="node1" presStyleIdx="0" presStyleCnt="5">
        <dgm:presLayoutVars>
          <dgm:bulletEnabled val="1"/>
        </dgm:presLayoutVars>
      </dgm:prSet>
      <dgm:spPr/>
    </dgm:pt>
    <dgm:pt modelId="{988600FA-F394-4576-8643-D57ACBB90A7E}" type="pres">
      <dgm:prSet presAssocID="{6FD563FE-E99F-4170-ADAF-84D566907F4E}" presName="sibTrans" presStyleCnt="0"/>
      <dgm:spPr/>
    </dgm:pt>
    <dgm:pt modelId="{B5860820-24FC-41A5-AD25-0DF8E81F9F7D}" type="pres">
      <dgm:prSet presAssocID="{0628B95B-AE30-409A-9D09-69F31C50665A}" presName="node" presStyleLbl="node1" presStyleIdx="1" presStyleCnt="5">
        <dgm:presLayoutVars>
          <dgm:bulletEnabled val="1"/>
        </dgm:presLayoutVars>
      </dgm:prSet>
      <dgm:spPr/>
    </dgm:pt>
    <dgm:pt modelId="{5626D773-A2E3-40FF-8A56-4E4B5DC181D5}" type="pres">
      <dgm:prSet presAssocID="{A90D473C-6E67-4C4A-A416-C59FE2D57188}" presName="sibTrans" presStyleCnt="0"/>
      <dgm:spPr/>
    </dgm:pt>
    <dgm:pt modelId="{E874172F-1650-47AB-9E37-46705AB8B869}" type="pres">
      <dgm:prSet presAssocID="{E62E94DB-F183-4938-9289-6C69970E37AD}" presName="node" presStyleLbl="node1" presStyleIdx="2" presStyleCnt="5">
        <dgm:presLayoutVars>
          <dgm:bulletEnabled val="1"/>
        </dgm:presLayoutVars>
      </dgm:prSet>
      <dgm:spPr/>
    </dgm:pt>
    <dgm:pt modelId="{96734707-C817-45A8-9A0A-5EED9325965C}" type="pres">
      <dgm:prSet presAssocID="{7DEB2221-4DEE-45D5-857C-84331090166D}" presName="sibTrans" presStyleCnt="0"/>
      <dgm:spPr/>
    </dgm:pt>
    <dgm:pt modelId="{E6A732AC-BABF-4E34-A40F-8EC867023B1B}" type="pres">
      <dgm:prSet presAssocID="{4E2FE13B-5B48-455A-A8A9-FC2BEFC4E703}" presName="node" presStyleLbl="node1" presStyleIdx="3" presStyleCnt="5">
        <dgm:presLayoutVars>
          <dgm:bulletEnabled val="1"/>
        </dgm:presLayoutVars>
      </dgm:prSet>
      <dgm:spPr/>
    </dgm:pt>
    <dgm:pt modelId="{219A9835-D339-43DA-B7A4-F5367F060A00}" type="pres">
      <dgm:prSet presAssocID="{5BB9DED9-B5A3-4996-8F0A-7ED39F4DF6CF}" presName="sibTrans" presStyleCnt="0"/>
      <dgm:spPr/>
    </dgm:pt>
    <dgm:pt modelId="{EAE6BC69-1938-4D5E-9B1C-08D646984AC5}" type="pres">
      <dgm:prSet presAssocID="{45935E4B-A2DF-4CD7-AE5C-2FFFAAC2E7BE}" presName="node" presStyleLbl="node1" presStyleIdx="4" presStyleCnt="5">
        <dgm:presLayoutVars>
          <dgm:bulletEnabled val="1"/>
        </dgm:presLayoutVars>
      </dgm:prSet>
      <dgm:spPr/>
    </dgm:pt>
  </dgm:ptLst>
  <dgm:cxnLst>
    <dgm:cxn modelId="{50C8530A-73D6-48DF-BE2E-26519CEFA07F}" srcId="{736A6D36-85B3-4878-9B7C-2D91BBE84FE3}" destId="{45935E4B-A2DF-4CD7-AE5C-2FFFAAC2E7BE}" srcOrd="4" destOrd="0" parTransId="{BE6E9AAD-F635-4D49-A616-BF6C5620522D}" sibTransId="{58A095D7-2F47-4B80-ACAA-3C564BA12914}"/>
    <dgm:cxn modelId="{E62CD738-F641-4886-80CC-CF69807EAEBD}" type="presOf" srcId="{F333610B-8366-4957-A66E-E11F7F3E2D24}" destId="{E874172F-1650-47AB-9E37-46705AB8B869}" srcOrd="0" destOrd="1" presId="urn:microsoft.com/office/officeart/2005/8/layout/default"/>
    <dgm:cxn modelId="{37093F45-B857-4A82-B107-CE1690B33C2B}" type="presOf" srcId="{9A86E098-774A-43E0-91E3-11A531C83DA4}" destId="{E6A732AC-BABF-4E34-A40F-8EC867023B1B}" srcOrd="0" destOrd="1" presId="urn:microsoft.com/office/officeart/2005/8/layout/default"/>
    <dgm:cxn modelId="{A3F36149-64CB-4AD1-B3FF-475F31C7414B}" srcId="{45935E4B-A2DF-4CD7-AE5C-2FFFAAC2E7BE}" destId="{39DD207E-5A63-457A-BD63-06DA2354386E}" srcOrd="0" destOrd="0" parTransId="{920288E1-DA1C-4CF4-99F4-F0AD5F1BDC70}" sibTransId="{62B82993-04E1-489C-ABDE-57C525BAA038}"/>
    <dgm:cxn modelId="{AA185649-4D9B-437A-9619-025E8AC756B9}" srcId="{736A6D36-85B3-4878-9B7C-2D91BBE84FE3}" destId="{E62E94DB-F183-4938-9289-6C69970E37AD}" srcOrd="2" destOrd="0" parTransId="{FD5DD3B4-C456-4E6E-B853-56A08D0C2D53}" sibTransId="{7DEB2221-4DEE-45D5-857C-84331090166D}"/>
    <dgm:cxn modelId="{3024374B-26A6-4667-9ED1-E695D6BB5DCA}" srcId="{39CC7A77-C475-4DB1-A77C-AE3ED00AA8F2}" destId="{E1BA2D93-A25B-410C-A343-725440CFFC4A}" srcOrd="0" destOrd="0" parTransId="{0728C215-924E-4575-B295-993788A386F8}" sibTransId="{80AE18A5-7BD7-4109-AEEC-C788EB96F68F}"/>
    <dgm:cxn modelId="{E465444B-1DE0-4088-B864-E351147FC714}" type="presOf" srcId="{39CC7A77-C475-4DB1-A77C-AE3ED00AA8F2}" destId="{5650D2B2-37D4-40CE-95FE-6494FD7AA9E8}" srcOrd="0" destOrd="0" presId="urn:microsoft.com/office/officeart/2005/8/layout/default"/>
    <dgm:cxn modelId="{84A7C06D-FD3B-4F8E-BD42-F917D046254D}" type="presOf" srcId="{98D4316F-2522-4F39-9806-6A85678D0BF4}" destId="{B5860820-24FC-41A5-AD25-0DF8E81F9F7D}" srcOrd="0" destOrd="1" presId="urn:microsoft.com/office/officeart/2005/8/layout/default"/>
    <dgm:cxn modelId="{1120C46E-EC6B-4748-9238-3F4F1BE9AE0D}" type="presOf" srcId="{45935E4B-A2DF-4CD7-AE5C-2FFFAAC2E7BE}" destId="{EAE6BC69-1938-4D5E-9B1C-08D646984AC5}" srcOrd="0" destOrd="0" presId="urn:microsoft.com/office/officeart/2005/8/layout/default"/>
    <dgm:cxn modelId="{388EC76E-7BAF-430E-9024-51E31446D76B}" type="presOf" srcId="{E62E94DB-F183-4938-9289-6C69970E37AD}" destId="{E874172F-1650-47AB-9E37-46705AB8B869}" srcOrd="0" destOrd="0" presId="urn:microsoft.com/office/officeart/2005/8/layout/default"/>
    <dgm:cxn modelId="{E33B0E58-5627-42F5-9167-B63C671B8135}" type="presOf" srcId="{E1BA2D93-A25B-410C-A343-725440CFFC4A}" destId="{5650D2B2-37D4-40CE-95FE-6494FD7AA9E8}" srcOrd="0" destOrd="1" presId="urn:microsoft.com/office/officeart/2005/8/layout/default"/>
    <dgm:cxn modelId="{E3E95F5A-C733-42CC-8FAD-8C8B307887AC}" srcId="{736A6D36-85B3-4878-9B7C-2D91BBE84FE3}" destId="{39CC7A77-C475-4DB1-A77C-AE3ED00AA8F2}" srcOrd="0" destOrd="0" parTransId="{D7BD8E3D-1D49-49AF-A052-C06D8B558A8B}" sibTransId="{6FD563FE-E99F-4170-ADAF-84D566907F4E}"/>
    <dgm:cxn modelId="{D510417F-8D8E-46F5-A497-BE87D4259BC7}" type="presOf" srcId="{39DD207E-5A63-457A-BD63-06DA2354386E}" destId="{EAE6BC69-1938-4D5E-9B1C-08D646984AC5}" srcOrd="0" destOrd="1" presId="urn:microsoft.com/office/officeart/2005/8/layout/default"/>
    <dgm:cxn modelId="{9C84DB80-ABDC-4782-ADE7-CC2B7DA3EFE1}" type="presOf" srcId="{4E2FE13B-5B48-455A-A8A9-FC2BEFC4E703}" destId="{E6A732AC-BABF-4E34-A40F-8EC867023B1B}" srcOrd="0" destOrd="0" presId="urn:microsoft.com/office/officeart/2005/8/layout/default"/>
    <dgm:cxn modelId="{B8A6CC87-43E7-439B-A486-B75AB9BA67FD}" type="presOf" srcId="{736A6D36-85B3-4878-9B7C-2D91BBE84FE3}" destId="{34DA6C6D-4DAF-4E19-92F6-3FC14336FF28}" srcOrd="0" destOrd="0" presId="urn:microsoft.com/office/officeart/2005/8/layout/default"/>
    <dgm:cxn modelId="{FEEA5AA0-CC73-41AD-BDE8-9BB643524AAB}" srcId="{0628B95B-AE30-409A-9D09-69F31C50665A}" destId="{98D4316F-2522-4F39-9806-6A85678D0BF4}" srcOrd="0" destOrd="0" parTransId="{76EAD1FA-C30A-454F-A141-47281367339C}" sibTransId="{3D9C7DD7-AE9E-4EE3-9A48-478EE2A778FA}"/>
    <dgm:cxn modelId="{BCEFB0A1-EAD9-4F5B-A81F-CD26A1357E36}" srcId="{E62E94DB-F183-4938-9289-6C69970E37AD}" destId="{F333610B-8366-4957-A66E-E11F7F3E2D24}" srcOrd="0" destOrd="0" parTransId="{CBE0E33A-A487-406E-83C9-EFF735A615CA}" sibTransId="{53FBF35D-3C62-47B2-8116-7A2667B95D5E}"/>
    <dgm:cxn modelId="{501BB1A1-DBCA-43EF-B8F2-01680F508FA7}" srcId="{4E2FE13B-5B48-455A-A8A9-FC2BEFC4E703}" destId="{9A86E098-774A-43E0-91E3-11A531C83DA4}" srcOrd="0" destOrd="0" parTransId="{49FA9BED-1E40-444C-99EC-B79BD008A02A}" sibTransId="{F5595C5B-EA21-41E2-8E13-05E2D63C5D15}"/>
    <dgm:cxn modelId="{1FE48AB4-9A6D-4B65-B540-6ED85364B874}" type="presOf" srcId="{0628B95B-AE30-409A-9D09-69F31C50665A}" destId="{B5860820-24FC-41A5-AD25-0DF8E81F9F7D}" srcOrd="0" destOrd="0" presId="urn:microsoft.com/office/officeart/2005/8/layout/default"/>
    <dgm:cxn modelId="{85F2F8B6-2A62-4290-A75C-2C40B3B34C04}" srcId="{736A6D36-85B3-4878-9B7C-2D91BBE84FE3}" destId="{4E2FE13B-5B48-455A-A8A9-FC2BEFC4E703}" srcOrd="3" destOrd="0" parTransId="{4D57BFA6-C923-4030-B050-08873A8F47B9}" sibTransId="{5BB9DED9-B5A3-4996-8F0A-7ED39F4DF6CF}"/>
    <dgm:cxn modelId="{318DCDE4-95AB-4FC5-80CF-8983FE681E60}" srcId="{736A6D36-85B3-4878-9B7C-2D91BBE84FE3}" destId="{0628B95B-AE30-409A-9D09-69F31C50665A}" srcOrd="1" destOrd="0" parTransId="{DD577BC6-AC5E-40DC-A6B4-F6987F987477}" sibTransId="{A90D473C-6E67-4C4A-A416-C59FE2D57188}"/>
    <dgm:cxn modelId="{0CCB1503-AB01-4041-BB29-52CEB4A03DDC}" type="presParOf" srcId="{34DA6C6D-4DAF-4E19-92F6-3FC14336FF28}" destId="{5650D2B2-37D4-40CE-95FE-6494FD7AA9E8}" srcOrd="0" destOrd="0" presId="urn:microsoft.com/office/officeart/2005/8/layout/default"/>
    <dgm:cxn modelId="{22A7CCC1-5E67-44EE-9DE7-397F5F98ED00}" type="presParOf" srcId="{34DA6C6D-4DAF-4E19-92F6-3FC14336FF28}" destId="{988600FA-F394-4576-8643-D57ACBB90A7E}" srcOrd="1" destOrd="0" presId="urn:microsoft.com/office/officeart/2005/8/layout/default"/>
    <dgm:cxn modelId="{A2565F91-239B-41E4-9E77-4E2BA22AF49B}" type="presParOf" srcId="{34DA6C6D-4DAF-4E19-92F6-3FC14336FF28}" destId="{B5860820-24FC-41A5-AD25-0DF8E81F9F7D}" srcOrd="2" destOrd="0" presId="urn:microsoft.com/office/officeart/2005/8/layout/default"/>
    <dgm:cxn modelId="{8607C9FB-9D5B-497F-9950-4F5DE36B8F5D}" type="presParOf" srcId="{34DA6C6D-4DAF-4E19-92F6-3FC14336FF28}" destId="{5626D773-A2E3-40FF-8A56-4E4B5DC181D5}" srcOrd="3" destOrd="0" presId="urn:microsoft.com/office/officeart/2005/8/layout/default"/>
    <dgm:cxn modelId="{B47516F3-F43C-4F6B-870F-9D2422BF29DF}" type="presParOf" srcId="{34DA6C6D-4DAF-4E19-92F6-3FC14336FF28}" destId="{E874172F-1650-47AB-9E37-46705AB8B869}" srcOrd="4" destOrd="0" presId="urn:microsoft.com/office/officeart/2005/8/layout/default"/>
    <dgm:cxn modelId="{CDEFC354-7B37-473F-8E85-806CE8602CCF}" type="presParOf" srcId="{34DA6C6D-4DAF-4E19-92F6-3FC14336FF28}" destId="{96734707-C817-45A8-9A0A-5EED9325965C}" srcOrd="5" destOrd="0" presId="urn:microsoft.com/office/officeart/2005/8/layout/default"/>
    <dgm:cxn modelId="{D2E55E00-38EB-4143-8D7F-EEAEE8DC7CC5}" type="presParOf" srcId="{34DA6C6D-4DAF-4E19-92F6-3FC14336FF28}" destId="{E6A732AC-BABF-4E34-A40F-8EC867023B1B}" srcOrd="6" destOrd="0" presId="urn:microsoft.com/office/officeart/2005/8/layout/default"/>
    <dgm:cxn modelId="{7F2D1535-4504-4C11-B58E-E53339BFBF44}" type="presParOf" srcId="{34DA6C6D-4DAF-4E19-92F6-3FC14336FF28}" destId="{219A9835-D339-43DA-B7A4-F5367F060A00}" srcOrd="7" destOrd="0" presId="urn:microsoft.com/office/officeart/2005/8/layout/default"/>
    <dgm:cxn modelId="{94DF779F-F713-453D-80CA-52E587CCF7A3}" type="presParOf" srcId="{34DA6C6D-4DAF-4E19-92F6-3FC14336FF28}" destId="{EAE6BC69-1938-4D5E-9B1C-08D646984AC5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50D2B2-37D4-40CE-95FE-6494FD7AA9E8}">
      <dsp:nvSpPr>
        <dsp:cNvPr id="0" name=""/>
        <dsp:cNvSpPr/>
      </dsp:nvSpPr>
      <dsp:spPr>
        <a:xfrm>
          <a:off x="0" y="721763"/>
          <a:ext cx="3727990" cy="2236794"/>
        </a:xfrm>
        <a:prstGeom prst="rect">
          <a:avLst/>
        </a:prstGeom>
        <a:solidFill>
          <a:srgbClr val="C1476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u="sng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. Dialogue &amp; align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nable structured conversations for better coordination and shared learning across stakeholders.</a:t>
          </a:r>
          <a:endParaRPr lang="en-GB" sz="1600" kern="1200">
            <a:latin typeface="VAG Rounded Std Thin" panose="020F04020202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721763"/>
        <a:ext cx="3727990" cy="2236794"/>
      </dsp:txXfrm>
    </dsp:sp>
    <dsp:sp modelId="{B5860820-24FC-41A5-AD25-0DF8E81F9F7D}">
      <dsp:nvSpPr>
        <dsp:cNvPr id="0" name=""/>
        <dsp:cNvSpPr/>
      </dsp:nvSpPr>
      <dsp:spPr>
        <a:xfrm>
          <a:off x="4100789" y="721763"/>
          <a:ext cx="3727990" cy="2236794"/>
        </a:xfrm>
        <a:prstGeom prst="rect">
          <a:avLst/>
        </a:prstGeom>
        <a:solidFill>
          <a:srgbClr val="F7B21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u="sng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. Data commit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mitments to collect, report, and use </a:t>
          </a:r>
          <a:r>
            <a:rPr lang="en-GB" sz="1600" b="1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ender- </a:t>
          </a:r>
          <a:r>
            <a:rPr lang="en-GB" sz="1600" b="1" kern="1200" err="1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Dissagregated</a:t>
          </a:r>
          <a:r>
            <a:rPr lang="en-GB" sz="1600" b="1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data </a:t>
          </a:r>
          <a:r>
            <a:rPr lang="en-GB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o drive solutions.</a:t>
          </a:r>
        </a:p>
      </dsp:txBody>
      <dsp:txXfrm>
        <a:off x="4100789" y="721763"/>
        <a:ext cx="3727990" cy="2236794"/>
      </dsp:txXfrm>
    </dsp:sp>
    <dsp:sp modelId="{E874172F-1650-47AB-9E37-46705AB8B869}">
      <dsp:nvSpPr>
        <dsp:cNvPr id="0" name=""/>
        <dsp:cNvSpPr/>
      </dsp:nvSpPr>
      <dsp:spPr>
        <a:xfrm>
          <a:off x="8201578" y="721763"/>
          <a:ext cx="3727990" cy="2236794"/>
        </a:xfrm>
        <a:prstGeom prst="rect">
          <a:avLst/>
        </a:prstGeom>
        <a:solidFill>
          <a:srgbClr val="A24FB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u="sng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3. Unite the secto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Bring together ecosystem players to drive the Code and intended WMSME outcomes collaboratively.</a:t>
          </a:r>
        </a:p>
      </dsp:txBody>
      <dsp:txXfrm>
        <a:off x="8201578" y="721763"/>
        <a:ext cx="3727990" cy="2236794"/>
      </dsp:txXfrm>
    </dsp:sp>
    <dsp:sp modelId="{E6A732AC-BABF-4E34-A40F-8EC867023B1B}">
      <dsp:nvSpPr>
        <dsp:cNvPr id="0" name=""/>
        <dsp:cNvSpPr/>
      </dsp:nvSpPr>
      <dsp:spPr>
        <a:xfrm>
          <a:off x="2050394" y="3331357"/>
          <a:ext cx="3727990" cy="2236794"/>
        </a:xfrm>
        <a:prstGeom prst="rect">
          <a:avLst/>
        </a:prstGeom>
        <a:solidFill>
          <a:srgbClr val="C3A6CE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u="sng" kern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4</a:t>
          </a:r>
          <a:r>
            <a:rPr lang="en-GB" sz="2000" b="1" u="sng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. Define priorities &amp; roadmap</a:t>
          </a:r>
          <a:endParaRPr lang="en-GB" sz="2000" u="sng" kern="1200">
            <a:latin typeface="VAG Rounded Std Thin" panose="020F04020202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elp shape clear timelines, priorities, and actions for Code adoption and action</a:t>
          </a:r>
        </a:p>
      </dsp:txBody>
      <dsp:txXfrm>
        <a:off x="2050394" y="3331357"/>
        <a:ext cx="3727990" cy="2236794"/>
      </dsp:txXfrm>
    </dsp:sp>
    <dsp:sp modelId="{EAE6BC69-1938-4D5E-9B1C-08D646984AC5}">
      <dsp:nvSpPr>
        <dsp:cNvPr id="0" name=""/>
        <dsp:cNvSpPr/>
      </dsp:nvSpPr>
      <dsp:spPr>
        <a:xfrm>
          <a:off x="6151183" y="3331356"/>
          <a:ext cx="3727990" cy="2236794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u="sng" kern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5. Engage policymakers</a:t>
          </a:r>
          <a:endParaRPr lang="en-GB" sz="2000" u="sng" kern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>
              <a:latin typeface="VAG Rounded Std Thin" panose="020F04020202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ct as a platform to influence policies that support WMSME solutions</a:t>
          </a:r>
        </a:p>
      </dsp:txBody>
      <dsp:txXfrm>
        <a:off x="6151183" y="3331356"/>
        <a:ext cx="3727990" cy="22367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197</cdr:x>
      <cdr:y>0.3347</cdr:y>
    </cdr:from>
    <cdr:to>
      <cdr:x>0.76765</cdr:x>
      <cdr:y>0.84548</cdr:y>
    </cdr:to>
    <cdr:sp macro="" textlink="">
      <cdr:nvSpPr>
        <cdr:cNvPr id="2" name="Rectangle: Rounded Corners 1">
          <a:extLst xmlns:a="http://schemas.openxmlformats.org/drawingml/2006/main">
            <a:ext uri="{FF2B5EF4-FFF2-40B4-BE49-F238E27FC236}">
              <a16:creationId xmlns:a16="http://schemas.microsoft.com/office/drawing/2014/main" id="{09BCF5EB-341E-08AB-9DA8-905FFAD5C72F}"/>
            </a:ext>
          </a:extLst>
        </cdr:cNvPr>
        <cdr:cNvSpPr/>
      </cdr:nvSpPr>
      <cdr:spPr>
        <a:xfrm xmlns:a="http://schemas.openxmlformats.org/drawingml/2006/main">
          <a:off x="2896303" y="1292959"/>
          <a:ext cx="859571" cy="1973179"/>
        </a:xfrm>
        <a:prstGeom xmlns:a="http://schemas.openxmlformats.org/drawingml/2006/main" prst="roundRect">
          <a:avLst>
            <a:gd name="adj" fmla="val 0"/>
          </a:avLst>
        </a:prstGeom>
        <a:noFill xmlns:a="http://schemas.openxmlformats.org/drawingml/2006/main"/>
        <a:ln xmlns:a="http://schemas.openxmlformats.org/drawingml/2006/main" w="38100">
          <a:solidFill>
            <a:srgbClr val="A43230"/>
          </a:solidFill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KE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DAD35-D76F-432D-AAFD-DC8570E95734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17775B-4399-4F90-8F19-1F6C4C9212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519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e-fi.org/wp-content/uploads/2024/10/WE-Finance-Code-Introduction.pdf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7775B-4399-4F90-8F19-1F6C4C92123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2329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7775B-4399-4F90-8F19-1F6C4C921230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002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FA2024 Tables 18+, Tab: Seg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0BB3F8-03B3-4311-9285-A14CBEDDAFE9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978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FA2024 Tables 18+, Tab: Seg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0BB3F8-03B3-4311-9285-A14CBEDDAFE9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587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84779D-6CC8-4E49-AFDE-EA07EB7BA5DC}" type="slidenum">
              <a:rPr lang="en-KE" smtClean="0"/>
              <a:t>12</a:t>
            </a:fld>
            <a:endParaRPr lang="en-KE"/>
          </a:p>
        </p:txBody>
      </p:sp>
    </p:spTree>
    <p:extLst>
      <p:ext uri="{BB962C8B-B14F-4D97-AF65-F5344CB8AC3E}">
        <p14:creationId xmlns:p14="http://schemas.microsoft.com/office/powerpoint/2010/main" val="15815715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A1D1B4-7361-48C2-8E3C-8BC6CC3C433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756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E38665-1968-E94F-9120-ED5B12DB6FE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269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" name="Google Shape;4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17775B-4399-4F90-8F19-1F6C4C92123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9809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hlinkClick r:id="rId3"/>
              </a:rPr>
              <a:t>https://we-fi.org/wp-content/uploads/2024/10/WE-Finance-Code-Introduction.pdf</a:t>
            </a:r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779D-6CC8-4E49-AFDE-EA07EB7BA5DC}" type="slidenum">
              <a:rPr kumimoji="0" lang="en-K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K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868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FB6B0-AAB3-AA11-2900-89B3459E00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2800" b="1">
                <a:solidFill>
                  <a:srgbClr val="F69320"/>
                </a:solidFill>
                <a:latin typeface="VAG Rounded Std Thin" panose="020F0402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3D91C4-EBCC-1235-9D18-D4AEB5866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F01852-7C48-B4C4-8E35-297D2046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137BC-DA26-4B6E-8D37-FF5D4598A50D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C20F81-BD88-5FF7-C32B-23D448954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FF3CA-442C-AFF7-D862-6D81AA935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597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0EFEC-1C2C-E4A6-0D5B-3A20ABF30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489FF2-D662-C0DD-F09D-A75517ADD5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4D00EE-45BA-F0E3-D53A-84C9F7A71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68561-42D9-4F8D-B9F4-4DEC45E6E11C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93091C-0B09-B1BC-A194-79C548B6E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A0D65D-D4EF-684F-0C93-B37CA30A0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59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4F60BA-CAB6-420B-2A36-0D015AF6A0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ADFEBE-E7F4-FEF3-793D-26799C1010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FFE3BA-2B9A-1403-A428-63260415C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5DC02-AECA-432B-8A8A-E65C6E461E6B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3009C-1EBB-CA56-01FF-261ED7B54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D5FCE-1402-C63C-B7B5-29E749FF7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566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D3454D-8990-4A61-B1FB-1FBEB8880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26F4F8-2C30-403A-A3AE-41491F17EB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5269" y="6391765"/>
            <a:ext cx="10947291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ZA"/>
              <a:t>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4E3730-36CA-458E-B24D-7832A27798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D4EFA4-1F90-4D2B-A593-3266C62E9295}" type="slidenum">
              <a:rPr lang="en-ZA" smtClean="0"/>
              <a:pPr/>
              <a:t>‹#›</a:t>
            </a:fld>
            <a:r>
              <a:rPr lang="en-ZA"/>
              <a:t> |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C19718-3822-49F4-BE0F-39FD9A422B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6688" y="1275713"/>
            <a:ext cx="4238625" cy="2743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/>
              <a:t>MAIN HEADING</a:t>
            </a:r>
            <a:endParaRPr lang="en-ZA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50ED45-23DD-4DEA-BCCE-A203C60F4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6688" y="1585205"/>
            <a:ext cx="4238625" cy="2743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0" i="1"/>
            </a:lvl1pPr>
          </a:lstStyle>
          <a:p>
            <a:pPr lvl="0"/>
            <a:r>
              <a:rPr lang="en-US"/>
              <a:t>Subheading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379169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C6A61-0181-DB03-5648-E06128818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8581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rgbClr val="244289"/>
                </a:solidFill>
              </a:defRPr>
            </a:lvl1pPr>
          </a:lstStyle>
          <a:p>
            <a:r>
              <a:rPr lang="en-US"/>
              <a:t>Click to add title</a:t>
            </a:r>
            <a:endParaRPr lang="en-US" sz="4400">
              <a:solidFill>
                <a:srgbClr val="244289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97BB972-ED39-2499-A23C-8D5F07718BD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1581665"/>
            <a:ext cx="4892840" cy="457850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rgbClr val="244289"/>
                </a:solidFill>
              </a:defRPr>
            </a:lvl2pPr>
            <a:lvl3pPr>
              <a:defRPr>
                <a:solidFill>
                  <a:srgbClr val="244289"/>
                </a:solidFill>
              </a:defRPr>
            </a:lvl3pPr>
            <a:lvl4pPr>
              <a:defRPr>
                <a:solidFill>
                  <a:srgbClr val="244289"/>
                </a:solidFill>
              </a:defRPr>
            </a:lvl4pPr>
            <a:lvl5pPr>
              <a:defRPr>
                <a:solidFill>
                  <a:srgbClr val="244289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5180229-2C67-9805-E559-047EB20F366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460962" y="1581666"/>
            <a:ext cx="4892840" cy="457850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rgbClr val="244289"/>
                </a:solidFill>
              </a:defRPr>
            </a:lvl2pPr>
            <a:lvl3pPr>
              <a:defRPr>
                <a:solidFill>
                  <a:srgbClr val="244289"/>
                </a:solidFill>
              </a:defRPr>
            </a:lvl3pPr>
            <a:lvl4pPr>
              <a:defRPr>
                <a:solidFill>
                  <a:srgbClr val="244289"/>
                </a:solidFill>
              </a:defRPr>
            </a:lvl4pPr>
            <a:lvl5pPr>
              <a:defRPr>
                <a:solidFill>
                  <a:srgbClr val="244289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content</a:t>
            </a:r>
          </a:p>
          <a:p>
            <a:pPr lvl="0"/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4080540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5C13C32E-0570-6E02-A920-E77D6521D25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62243" y="1606379"/>
            <a:ext cx="10190769" cy="46139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244289"/>
                </a:solidFill>
              </a:defRPr>
            </a:lvl2pPr>
            <a:lvl3pPr>
              <a:defRPr sz="1600">
                <a:solidFill>
                  <a:srgbClr val="244289"/>
                </a:solidFill>
              </a:defRPr>
            </a:lvl3pPr>
            <a:lvl4pPr>
              <a:defRPr sz="1600">
                <a:solidFill>
                  <a:srgbClr val="244289"/>
                </a:solidFill>
              </a:defRPr>
            </a:lvl4pPr>
            <a:lvl5pPr>
              <a:defRPr sz="1600">
                <a:solidFill>
                  <a:srgbClr val="244289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2217E21-94C9-1293-C709-6FE6F3B63F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243" y="448437"/>
            <a:ext cx="10190768" cy="898449"/>
          </a:xfrm>
        </p:spPr>
        <p:txBody>
          <a:bodyPr>
            <a:normAutofit/>
          </a:bodyPr>
          <a:lstStyle>
            <a:lvl1pPr marL="0" indent="0">
              <a:buNone/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  <a:endParaRPr lang="en-US" sz="2800">
              <a:solidFill>
                <a:srgbClr val="244289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2B407FF-6986-444E-BB9B-838BBC2A45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38856" y="5735528"/>
            <a:ext cx="123747" cy="29138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400" b="1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4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823E4A-9ABC-7052-1183-EC95060CC5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2244" y="6339233"/>
            <a:ext cx="10190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204328-A12A-4563-AF82-04855E762DAD}" type="slidenum">
              <a:rPr lang="en-001" smtClean="0"/>
              <a:pPr/>
              <a:t>‹#›</a:t>
            </a:fld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3836154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53;p5">
            <a:extLst>
              <a:ext uri="{FF2B5EF4-FFF2-40B4-BE49-F238E27FC236}">
                <a16:creationId xmlns:a16="http://schemas.microsoft.com/office/drawing/2014/main" id="{5E1326A6-D584-136F-ED37-E62BFF5FE2BE}"/>
              </a:ext>
            </a:extLst>
          </p:cNvPr>
          <p:cNvCxnSpPr/>
          <p:nvPr userDrawn="1"/>
        </p:nvCxnSpPr>
        <p:spPr>
          <a:xfrm>
            <a:off x="0" y="4106400"/>
            <a:ext cx="5360400" cy="0"/>
          </a:xfrm>
          <a:prstGeom prst="straightConnector1">
            <a:avLst/>
          </a:prstGeom>
          <a:noFill/>
          <a:ln w="28575" cap="flat" cmpd="sng">
            <a:solidFill>
              <a:srgbClr val="24428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8C461D-73D1-ACAC-3739-789F4BF137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122" y="3023396"/>
            <a:ext cx="3283405" cy="811207"/>
          </a:xfrm>
        </p:spPr>
        <p:txBody>
          <a:bodyPr>
            <a:noAutofit/>
          </a:bodyPr>
          <a:lstStyle>
            <a:lvl1pPr marL="0" indent="0">
              <a:buNone/>
              <a:defRPr lang="en-001" sz="2800" b="1" kern="1200" dirty="0">
                <a:solidFill>
                  <a:srgbClr val="F69320"/>
                </a:solidFill>
                <a:latin typeface="VAG Rounded Std Thin" panose="020F0402020204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Section title</a:t>
            </a:r>
            <a:endParaRPr lang="en-001"/>
          </a:p>
        </p:txBody>
      </p:sp>
      <p:sp>
        <p:nvSpPr>
          <p:cNvPr id="2" name="Picture Placeholder 13">
            <a:extLst>
              <a:ext uri="{FF2B5EF4-FFF2-40B4-BE49-F238E27FC236}">
                <a16:creationId xmlns:a16="http://schemas.microsoft.com/office/drawing/2014/main" id="{AFB14486-A6AA-E605-E0CE-70DAB8FB7C4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31603" y="518984"/>
            <a:ext cx="4664075" cy="55678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9697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76E96B-F239-A442-B300-F8C4FD5AD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6524" y="6473331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fld id="{4943FCC8-8913-0048-9DB2-B742F2CE141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7833E15E-F7CE-8941-BC61-0ACE91B918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6646" y="435291"/>
            <a:ext cx="3887822" cy="647179"/>
          </a:xfrm>
        </p:spPr>
        <p:txBody>
          <a:bodyPr>
            <a:noAutofit/>
          </a:bodyPr>
          <a:lstStyle>
            <a:lvl1pPr marL="0" indent="0">
              <a:buNone/>
              <a:defRPr sz="2400" b="1" i="0">
                <a:solidFill>
                  <a:srgbClr val="10234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>
                <a:latin typeface="Georgia" panose="02040502050405020303" pitchFamily="18" charset="0"/>
              </a:rPr>
              <a:t>Page Tit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5B13E-B259-2444-B138-90481486D0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798" y="0"/>
            <a:ext cx="2743201" cy="6858000"/>
          </a:xfrm>
          <a:prstGeom prst="rect">
            <a:avLst/>
          </a:prstGeom>
        </p:spPr>
      </p:pic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42A018C-2660-0B4E-987A-3C3D9D97F4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6524" y="198230"/>
            <a:ext cx="2962275" cy="365125"/>
          </a:xfrm>
        </p:spPr>
        <p:txBody>
          <a:bodyPr/>
          <a:lstStyle>
            <a:lvl1pPr marL="0" indent="0">
              <a:buNone/>
              <a:defRPr sz="1400" b="1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751390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A0723-7B09-6176-B199-3B1FCD3D31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8B86D-5CDB-1E72-77B0-0CB7C3FBCF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67FAC-4D24-25A4-6BC3-8795FF314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1A65AA-12DC-B15A-7D61-A2FDF544F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298875-41B9-1F97-128F-BC17FA6BD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7122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C0008-5DE2-DA6F-E557-235807B4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410288-2034-6639-4C9A-635425C090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788957-F590-1B09-CF02-13E8A7DE2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E2579C-6024-3919-9461-5FAF35420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FD5CB-0887-6FE4-EDBF-F16C0EFEC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74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142416-E246-E69E-0A13-5E415FAC1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79045-D816-4E0A-F8B4-9B8A2A3B6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1DC8F9-13D4-929A-ED80-14E0B30F5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85BBF0-8A57-50AD-C5D5-18A567704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38E2-36B0-FF81-C94B-591F0115D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604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E22E6-D433-AAAA-647D-67FE67089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8134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72C40F-C7BA-6589-B40B-23DF20332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825625"/>
            <a:ext cx="1152207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7CF138-89B0-0AB3-B940-BC39F9B206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4963" y="6356350"/>
            <a:ext cx="3246437" cy="365125"/>
          </a:xfrm>
        </p:spPr>
        <p:txBody>
          <a:bodyPr/>
          <a:lstStyle/>
          <a:p>
            <a:fld id="{71DA8A77-C85D-411A-90B8-E57A25937868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F42F1-4D03-3FE7-8A88-94D79BC2F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F4D936-5B7C-F19F-47A0-798B7224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</p:spPr>
        <p:txBody>
          <a:bodyPr/>
          <a:lstStyle>
            <a:lvl1pPr>
              <a:defRPr sz="1600">
                <a:solidFill>
                  <a:srgbClr val="FD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028294-B621-4655-B313-8EDD92EA83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8DF667-1543-A3BB-9B92-E73ADFC320D1}"/>
              </a:ext>
            </a:extLst>
          </p:cNvPr>
          <p:cNvSpPr/>
          <p:nvPr userDrawn="1"/>
        </p:nvSpPr>
        <p:spPr>
          <a:xfrm flipV="1">
            <a:off x="0" y="6857999"/>
            <a:ext cx="12192000" cy="45719"/>
          </a:xfrm>
          <a:prstGeom prst="rect">
            <a:avLst/>
          </a:prstGeom>
          <a:solidFill>
            <a:srgbClr val="014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64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A9586-857F-2B2F-A18D-BF9552C3E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6D244E-F58E-F770-84F9-90C2D4EE93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9D2DA7-1FA9-2544-273D-3ABA19282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18CDB0-F45B-5DE7-C500-380848BA0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74AE05-6D1E-EF79-1913-9419A458F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2DEA2-762E-F6F8-FAAE-2C41F037F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9432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4ACB7-675B-C9B6-BE08-29795D53B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A7DD69-1372-556E-C397-77849592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636BBE-5557-D141-8BD8-DD76C72445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5B5EFB-B6CF-A6D1-773F-38E2B2B669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D13465-C88C-C0E3-EC2A-8F4F3C30E2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320DF-F008-A94C-34FB-BB66504C5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EC6CC9-B131-1B4C-EC2E-62E829B8B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41FE1-5979-F177-F437-062B765C1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581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88451-EC7C-5E0C-1210-BC904C65D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187668-5A6F-63CA-4AFD-4B37CF0C8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E4DF7E-5679-638E-79FD-E5279E2AB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5A550E-1F55-5098-8891-D5B36B845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959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7EE265-3C0C-BD21-2D11-C3D54D7A2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F52C25-288B-A2AC-5B33-88CB5CBE2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0A7DDB-9EF9-3668-852A-94DF72C79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4249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F7C051-41E2-FDB3-C5BE-7AADC044F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4E11DF-0A7D-55B8-C1BD-F56DA083A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DDFA3B-8AEC-F696-C3A8-000E4974DB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E4EEDD-2FF9-1B29-E993-28E3FCBE7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958951-CE1D-F399-A696-A631702F9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EB2D10-88BD-81DE-A00D-A769F7564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101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72CEA-7829-EB0C-0635-93A41AEA6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DD9BEE-6621-B07B-0095-1A9FFD00F4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CF8DB-8442-6EBB-F313-40633DB3FC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2F78BC-BA47-55BF-A704-D951388AE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84CB71-2E6D-FA5A-9203-85D59A38E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E927A1-ADF9-DC8D-229E-1E11B493B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360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6C91FD-FEBB-72D7-35B4-A853C6660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7A32E1-5E87-ADF7-D9B5-FB8C5A4E60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6F2932-E30C-C862-1EF9-AE45C819C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12CCBB-75B7-6BD9-061D-B536240A2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107ABE-CFBF-3EC7-9BCE-DF4490732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4643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9AB6D3-002F-949B-BC25-1F2C8BEAA7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E87AB8-815A-F198-2322-813B362921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AD992F-4F19-0FCD-CAF4-4F93BB1A0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C509F6-38E4-85EE-B604-B134C0670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F732D-C986-864D-06AF-C6F81F850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705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6691A-6CDA-4587-CE84-1BF77B369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EF022-CD42-33BE-5D5F-7A0D88312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4B9765-21B1-3ADF-BCA2-8CEF87D26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D8E8A-1AA3-442F-B353-7BB357ED672A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3CB57-7247-57BB-B08D-D7571A043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6F66DF-A068-183C-2873-C75BBAA2B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198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EAC33-CDB7-38A7-4915-2B511D345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CB27EF-71E4-5FD2-DFC5-2FD6956C2B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C0C2C8-5D8A-F160-B08A-5B66F6AB6F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247AA7-1C45-FEB3-31A7-DA672A3B0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579D4-F1EC-4D07-87B3-FD1CC8563D3F}" type="datetime1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B56E99-4DA9-54DD-75FF-96A1CCB6D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954C8A-DD52-D64E-374C-A593A59DC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569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43FBC-4855-8CF9-E666-82E73B27A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C2CD5D-5489-E6EE-1BDC-62EBC3A9D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C3829B-D4E6-4528-9C50-75FDEAE8B9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BD1338-5D28-06E8-11D2-3343FEC93F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C0D187-B11A-DEB3-12A1-93D6DB8973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E14DA1-FB50-1DED-E5F0-817F95D0B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4C24A0-A49C-4F72-B8CC-7B6E7A211C3C}" type="datetime1">
              <a:rPr lang="en-US" smtClean="0"/>
              <a:t>8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8AFEED-8ACC-6721-2E7A-16417658B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92BD1A-30FA-FD73-9838-98F44CDC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610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3BDC0-965E-BF3A-1DB8-B34C3CCE6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4A8856-B66B-33FE-79F7-DC3748F98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E0FE3-6400-43D2-B3D5-73B13608982B}" type="datetime1">
              <a:rPr lang="en-US" smtClean="0"/>
              <a:t>8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D8A8BC-A033-47F4-98C0-05AE21CFF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84E9F7-D14E-904E-DD64-8A9748D6E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08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1B00DD-F0E8-ED3D-8BAF-30F00D5A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24434-7B62-479E-A696-732524CD6508}" type="datetime1">
              <a:rPr lang="en-US" smtClean="0"/>
              <a:t>8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93247-9925-A04A-C47F-06499514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13FDA5-5265-8529-F5AB-3B6205BFA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676E89-530C-F549-DAE8-282CF197C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57" b="27497"/>
          <a:stretch/>
        </p:blipFill>
        <p:spPr>
          <a:xfrm>
            <a:off x="10452652" y="0"/>
            <a:ext cx="1739348" cy="10495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DECF30-D322-96AE-3B8D-8362A92D74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56" y="145370"/>
            <a:ext cx="1428751" cy="641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785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9C43FA-C51B-920A-15CA-9B1F46F4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C2A82F-9E84-054F-B9F5-E6807E074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508707-1DF5-4A10-CE77-5049F638CD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017B7A-A556-CFFD-AF3B-FB1F14C5C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C3ACF-B8D3-40C7-B3EE-B30F84DD94C7}" type="datetime1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AABACF-E51C-E624-CB49-8B54C5F84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BF5C6-6F65-0025-B46D-B1F2F640B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255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08319-9A99-1747-9900-66129BE52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DF403F-0A96-2AB8-AED6-4DA2D91653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CBE151-0416-6457-8A21-2E1420135F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ACF31-C9BF-014C-2284-5125859BE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F92506-B0D6-49A5-850B-81DBCC4791B9}" type="datetime1">
              <a:rPr lang="en-US" smtClean="0"/>
              <a:t>8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1248DF-68B6-34DD-9FC8-540310758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D656B6-E5B2-24DD-72F4-A1C982D9F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901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9C33EB-5D14-C0FA-B6EF-E042A194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E3FDEC-0D80-55E9-245B-9B14C7E8ED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0E647A-26B6-502A-126B-7531199EA7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01CBC0-8712-406B-97EF-6BE1711EA112}" type="datetime1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9C63B-4E33-544E-36CC-FB159F7366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AAC7B2-87D8-21C3-A209-2702546A6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028294-B621-4655-B313-8EDD92EA830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666707-D890-6C4F-A061-32316C985FB7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56" y="145370"/>
            <a:ext cx="1428751" cy="6410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476CF59-820F-45AF-349B-E175BCCA9FE3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57" b="27497"/>
          <a:stretch/>
        </p:blipFill>
        <p:spPr>
          <a:xfrm>
            <a:off x="10330696" y="63074"/>
            <a:ext cx="1739348" cy="104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89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  <p:sldLayoutId id="2147483677" r:id="rId15"/>
    <p:sldLayoutId id="2147483678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F69320"/>
          </a:solidFill>
          <a:latin typeface="VAG Rounded Std Thin" panose="020F0402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AG Rounded Std Thin" panose="020F0402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AG Rounded Std Thin" panose="020F0402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AG Rounded Std Thin" panose="020F0402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AG Rounded Std Thin" panose="020F0402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AG Rounded Std Thin" panose="020F0402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7A9AA7-4FD2-D5CA-2566-475F0340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0B9A81-3E7A-0D22-384C-7FF1B16324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F47EE3-643F-D931-55CB-60BCB65586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421230-817D-4F1B-982A-28393D28F369}" type="datetimeFigureOut">
              <a:rPr lang="en-US" smtClean="0"/>
              <a:t>8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D0FF93-60B2-3623-15FE-D519A454E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810451-4F83-FFEA-A4F2-72F2558F76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0733FA-BF27-48B6-9E14-0A1FB4B104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736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ites.google.com/usabledata.co/kba-wmsme/dashboard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fikenya.com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-fi.org/we-finance-code/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we-fi.org/we-finance-cod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we-fi.org/we-finance-code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201;p1" descr="A person holding a bucket of fish&#10;&#10;Description automatically generated">
            <a:extLst>
              <a:ext uri="{FF2B5EF4-FFF2-40B4-BE49-F238E27FC236}">
                <a16:creationId xmlns:a16="http://schemas.microsoft.com/office/drawing/2014/main" id="{FA6013DC-4236-AAD0-F6BF-B193EF82FCC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>
            <a:alphaModFix/>
          </a:blip>
          <a:srcRect t="1838" b="1837"/>
          <a:stretch/>
        </p:blipFill>
        <p:spPr>
          <a:xfrm>
            <a:off x="6476748" y="1041624"/>
            <a:ext cx="4664075" cy="556715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5568AE-42F5-7528-A93E-1D6354E9CB41}"/>
              </a:ext>
            </a:extLst>
          </p:cNvPr>
          <p:cNvSpPr txBox="1"/>
          <p:nvPr/>
        </p:nvSpPr>
        <p:spPr>
          <a:xfrm>
            <a:off x="152400" y="2318657"/>
            <a:ext cx="631371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rgbClr val="F69320"/>
                </a:solidFill>
                <a:latin typeface="VAG Rounded Std Thin" panose="020F0402020204020204" pitchFamily="34" charset="0"/>
              </a:rPr>
              <a:t>Unlocking the Female Economy: Leveraging Gender-Disaggregated Data for Inclusive Credit Growt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4B9380-2CEC-D14A-3963-E52C0B18EA10}"/>
              </a:ext>
            </a:extLst>
          </p:cNvPr>
          <p:cNvSpPr txBox="1"/>
          <p:nvPr/>
        </p:nvSpPr>
        <p:spPr>
          <a:xfrm>
            <a:off x="246888" y="4251960"/>
            <a:ext cx="5337483" cy="16845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>
                <a:latin typeface="VAG Rounded Std Thin"/>
              </a:rPr>
              <a:t>Presenters : Christine </a:t>
            </a:r>
            <a:r>
              <a:rPr lang="en-US" b="1" err="1">
                <a:latin typeface="VAG Rounded Std Thin"/>
              </a:rPr>
              <a:t>Waita</a:t>
            </a:r>
            <a:r>
              <a:rPr lang="en-US" b="1">
                <a:latin typeface="VAG Rounded Std Thin"/>
              </a:rPr>
              <a:t> (KBA) and</a:t>
            </a:r>
            <a:endParaRPr lang="en-US">
              <a:latin typeface="VAG Rounded Std Thin"/>
            </a:endParaRPr>
          </a:p>
          <a:p>
            <a:pPr>
              <a:lnSpc>
                <a:spcPct val="200000"/>
              </a:lnSpc>
            </a:pPr>
            <a:r>
              <a:rPr lang="en-US" b="1">
                <a:latin typeface="VAG Rounded Std Thin"/>
              </a:rPr>
              <a:t>Sharon Juma (FSD Kenya). </a:t>
            </a:r>
            <a:endParaRPr lang="en-US">
              <a:latin typeface="VAG Rounded Std Thin"/>
            </a:endParaRPr>
          </a:p>
          <a:p>
            <a:pPr>
              <a:lnSpc>
                <a:spcPct val="200000"/>
              </a:lnSpc>
            </a:pPr>
            <a:r>
              <a:rPr lang="en-US" b="1">
                <a:latin typeface="VAG Rounded Std Thin" panose="020F0402020204020204" pitchFamily="34" charset="0"/>
              </a:rPr>
              <a:t>19</a:t>
            </a:r>
            <a:r>
              <a:rPr lang="en-US" b="1" baseline="30000">
                <a:latin typeface="VAG Rounded Std Thin" panose="020F0402020204020204" pitchFamily="34" charset="0"/>
              </a:rPr>
              <a:t>th</a:t>
            </a:r>
            <a:r>
              <a:rPr lang="en-US" b="1">
                <a:latin typeface="VAG Rounded Std Thin" panose="020F0402020204020204" pitchFamily="34" charset="0"/>
              </a:rPr>
              <a:t> August 2025</a:t>
            </a:r>
          </a:p>
        </p:txBody>
      </p:sp>
    </p:spTree>
    <p:extLst>
      <p:ext uri="{BB962C8B-B14F-4D97-AF65-F5344CB8AC3E}">
        <p14:creationId xmlns:p14="http://schemas.microsoft.com/office/powerpoint/2010/main" val="30527481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C979B-D1BA-64E9-2FE3-F6A6E1947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CFD3E-B949-DAAB-6FD9-9AF54A351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5775" y="200135"/>
            <a:ext cx="7934962" cy="751126"/>
          </a:xfrm>
        </p:spPr>
        <p:txBody>
          <a:bodyPr>
            <a:noAutofit/>
          </a:bodyPr>
          <a:lstStyle/>
          <a:p>
            <a:r>
              <a:rPr kumimoji="0" lang="en-ZA" sz="2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VAG Rounded Std Thin" panose="020F0402020204020204" pitchFamily="34" charset="0"/>
                <a:ea typeface="+mn-ea"/>
                <a:cs typeface="+mn-cs"/>
              </a:rPr>
              <a:t>Bank account: </a:t>
            </a:r>
            <a:r>
              <a:rPr lang="en-ZA" sz="2400" b="1">
                <a:solidFill>
                  <a:srgbClr val="F69320"/>
                </a:solidFill>
                <a:latin typeface="VAG Rounded Std Thin" panose="020F0402020204020204" pitchFamily="34" charset="0"/>
              </a:rPr>
              <a:t>27% of women with operational businesses have bank accounts compared 45.3% of men business owner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04775D-B97B-98F1-9EBA-D4CBB2859A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12897" y="6428960"/>
            <a:ext cx="10947291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kumimoji="0" lang="en-ZA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ccess</a:t>
            </a: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24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E03B8D08-2490-BEE1-1B8F-5F05CA6BEE7A}"/>
              </a:ext>
            </a:extLst>
          </p:cNvPr>
          <p:cNvSpPr/>
          <p:nvPr/>
        </p:nvSpPr>
        <p:spPr>
          <a:xfrm>
            <a:off x="5184920" y="1806452"/>
            <a:ext cx="1671484" cy="1671484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962801-7D7E-6CC3-ED8D-9E56F75096E3}"/>
              </a:ext>
            </a:extLst>
          </p:cNvPr>
          <p:cNvSpPr txBox="1"/>
          <p:nvPr/>
        </p:nvSpPr>
        <p:spPr>
          <a:xfrm>
            <a:off x="2135606" y="953018"/>
            <a:ext cx="73092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BUSINESS OWNER SEGMENTS – Bank account GENDER AND AGE: 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ACA8A-38F1-B0D4-283D-6321265975ED}"/>
              </a:ext>
            </a:extLst>
          </p:cNvPr>
          <p:cNvSpPr txBox="1"/>
          <p:nvPr/>
        </p:nvSpPr>
        <p:spPr>
          <a:xfrm>
            <a:off x="3125502" y="1362075"/>
            <a:ext cx="56449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(18+; main source of income is own business / self-employed, operational businesse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6A4382-0FDF-95FF-1A29-B1BBAEE78538}"/>
              </a:ext>
            </a:extLst>
          </p:cNvPr>
          <p:cNvSpPr txBox="1"/>
          <p:nvPr/>
        </p:nvSpPr>
        <p:spPr>
          <a:xfrm>
            <a:off x="5111841" y="2192616"/>
            <a:ext cx="174940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1.34 Million: with bank accou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Business owners with operational businesses</a:t>
            </a: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F6CB8FDA-5990-FE19-D6F3-A88819DE72EB}"/>
              </a:ext>
            </a:extLst>
          </p:cNvPr>
          <p:cNvSpPr/>
          <p:nvPr/>
        </p:nvSpPr>
        <p:spPr>
          <a:xfrm>
            <a:off x="2193120" y="3744449"/>
            <a:ext cx="932400" cy="93240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A7645FA8-A9B1-67DD-86DA-B2B18443607F}"/>
              </a:ext>
            </a:extLst>
          </p:cNvPr>
          <p:cNvSpPr/>
          <p:nvPr/>
        </p:nvSpPr>
        <p:spPr>
          <a:xfrm>
            <a:off x="9042392" y="3718523"/>
            <a:ext cx="1380213" cy="948618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F85CE7-3EE6-554B-63E8-AB31B4A4DDF1}"/>
              </a:ext>
            </a:extLst>
          </p:cNvPr>
          <p:cNvSpPr txBox="1"/>
          <p:nvPr/>
        </p:nvSpPr>
        <p:spPr>
          <a:xfrm>
            <a:off x="2279896" y="4089249"/>
            <a:ext cx="769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565.6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6E956E-4F67-A812-9F45-48649862EE29}"/>
              </a:ext>
            </a:extLst>
          </p:cNvPr>
          <p:cNvSpPr txBox="1"/>
          <p:nvPr/>
        </p:nvSpPr>
        <p:spPr>
          <a:xfrm>
            <a:off x="9331189" y="3995329"/>
            <a:ext cx="732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775.0K</a:t>
            </a:r>
            <a:endParaRPr kumimoji="0" lang="en-ZA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9ABDE5-BF87-DA2E-AFDD-DB1A2AF2FA95}"/>
              </a:ext>
            </a:extLst>
          </p:cNvPr>
          <p:cNvSpPr txBox="1"/>
          <p:nvPr/>
        </p:nvSpPr>
        <p:spPr>
          <a:xfrm>
            <a:off x="2296384" y="3490650"/>
            <a:ext cx="83256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Fema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D9A177-2907-A388-18AB-76F9E26E2A9D}"/>
              </a:ext>
            </a:extLst>
          </p:cNvPr>
          <p:cNvSpPr txBox="1"/>
          <p:nvPr/>
        </p:nvSpPr>
        <p:spPr>
          <a:xfrm>
            <a:off x="9444821" y="3482732"/>
            <a:ext cx="59792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Male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95D49956-43F7-7E09-94A3-23537920E381}"/>
              </a:ext>
            </a:extLst>
          </p:cNvPr>
          <p:cNvSpPr/>
          <p:nvPr/>
        </p:nvSpPr>
        <p:spPr>
          <a:xfrm>
            <a:off x="878389" y="5310049"/>
            <a:ext cx="511200" cy="51120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FE5AB1-49BD-C8CF-20CB-3D05F16082E3}"/>
              </a:ext>
            </a:extLst>
          </p:cNvPr>
          <p:cNvSpPr txBox="1"/>
          <p:nvPr/>
        </p:nvSpPr>
        <p:spPr>
          <a:xfrm>
            <a:off x="746022" y="5430897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63.1K</a:t>
            </a: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C9D5F3C-0BE7-3CF5-E405-A68998CEFD88}"/>
              </a:ext>
            </a:extLst>
          </p:cNvPr>
          <p:cNvCxnSpPr>
            <a:cxnSpLocks/>
          </p:cNvCxnSpPr>
          <p:nvPr/>
        </p:nvCxnSpPr>
        <p:spPr>
          <a:xfrm rot="5400000" flipH="1">
            <a:off x="4247907" y="1928746"/>
            <a:ext cx="14254" cy="3110586"/>
          </a:xfrm>
          <a:prstGeom prst="bentConnector3">
            <a:avLst>
              <a:gd name="adj1" fmla="val 3370759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7077ADE-6BC3-0820-D26A-685B3F6F8DB0}"/>
              </a:ext>
            </a:extLst>
          </p:cNvPr>
          <p:cNvCxnSpPr>
            <a:cxnSpLocks/>
          </p:cNvCxnSpPr>
          <p:nvPr/>
        </p:nvCxnSpPr>
        <p:spPr>
          <a:xfrm rot="5400000" flipH="1">
            <a:off x="7978578" y="1751445"/>
            <a:ext cx="17247" cy="3421645"/>
          </a:xfrm>
          <a:prstGeom prst="bentConnector3">
            <a:avLst>
              <a:gd name="adj1" fmla="val 273559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8F454366-AF39-7D1F-C31B-4909F2EB3BCE}"/>
              </a:ext>
            </a:extLst>
          </p:cNvPr>
          <p:cNvSpPr/>
          <p:nvPr/>
        </p:nvSpPr>
        <p:spPr>
          <a:xfrm>
            <a:off x="1876495" y="5310049"/>
            <a:ext cx="747676" cy="745268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E7EF55-A3AF-5ADA-1049-FE71C668CD3A}"/>
              </a:ext>
            </a:extLst>
          </p:cNvPr>
          <p:cNvSpPr txBox="1"/>
          <p:nvPr/>
        </p:nvSpPr>
        <p:spPr>
          <a:xfrm>
            <a:off x="1873249" y="5557695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233.1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k</a:t>
            </a:r>
          </a:p>
        </p:txBody>
      </p:sp>
      <p:sp>
        <p:nvSpPr>
          <p:cNvPr id="54" name="Flowchart: Connector 53">
            <a:extLst>
              <a:ext uri="{FF2B5EF4-FFF2-40B4-BE49-F238E27FC236}">
                <a16:creationId xmlns:a16="http://schemas.microsoft.com/office/drawing/2014/main" id="{CA3EEAE0-B3DC-0CD6-C94F-B5A850A3DE75}"/>
              </a:ext>
            </a:extLst>
          </p:cNvPr>
          <p:cNvSpPr/>
          <p:nvPr/>
        </p:nvSpPr>
        <p:spPr>
          <a:xfrm>
            <a:off x="3049734" y="5319113"/>
            <a:ext cx="623892" cy="61377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9D2A1DE-413D-0A2E-C032-7B4AB20CC9A2}"/>
              </a:ext>
            </a:extLst>
          </p:cNvPr>
          <p:cNvSpPr txBox="1"/>
          <p:nvPr/>
        </p:nvSpPr>
        <p:spPr>
          <a:xfrm>
            <a:off x="2986219" y="5490473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148.4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k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A0355AE-AFAF-B48F-AC6A-1193D3DDA2BE}"/>
              </a:ext>
            </a:extLst>
          </p:cNvPr>
          <p:cNvGrpSpPr/>
          <p:nvPr/>
        </p:nvGrpSpPr>
        <p:grpSpPr>
          <a:xfrm>
            <a:off x="7509231" y="4659730"/>
            <a:ext cx="4237862" cy="641277"/>
            <a:chOff x="8282119" y="4601636"/>
            <a:chExt cx="4237862" cy="641277"/>
          </a:xfrm>
        </p:grpSpPr>
        <p:sp>
          <p:nvSpPr>
            <p:cNvPr id="58" name="Right Brace 57">
              <a:extLst>
                <a:ext uri="{FF2B5EF4-FFF2-40B4-BE49-F238E27FC236}">
                  <a16:creationId xmlns:a16="http://schemas.microsoft.com/office/drawing/2014/main" id="{8014D85C-D29A-832D-D743-50951C485C4F}"/>
                </a:ext>
              </a:extLst>
            </p:cNvPr>
            <p:cNvSpPr/>
            <p:nvPr/>
          </p:nvSpPr>
          <p:spPr>
            <a:xfrm rot="16200000">
              <a:off x="10257698" y="3125795"/>
              <a:ext cx="334950" cy="3286632"/>
            </a:xfrm>
            <a:prstGeom prst="rightBrac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0945033-93DC-FBDC-3F8C-295080982B16}"/>
                </a:ext>
              </a:extLst>
            </p:cNvPr>
            <p:cNvSpPr txBox="1"/>
            <p:nvPr/>
          </p:nvSpPr>
          <p:spPr>
            <a:xfrm>
              <a:off x="8282119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18 - 25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985E2972-242C-DC79-E1EC-96DA8943D528}"/>
                </a:ext>
              </a:extLst>
            </p:cNvPr>
            <p:cNvSpPr txBox="1"/>
            <p:nvPr/>
          </p:nvSpPr>
          <p:spPr>
            <a:xfrm>
              <a:off x="9406762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26 - 35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23E5186-E48F-C1F3-B756-5CAF132F99F5}"/>
                </a:ext>
              </a:extLst>
            </p:cNvPr>
            <p:cNvSpPr txBox="1"/>
            <p:nvPr/>
          </p:nvSpPr>
          <p:spPr>
            <a:xfrm>
              <a:off x="10549511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36 - 45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A77584F-15C1-CC6D-3C17-C60028437A51}"/>
                </a:ext>
              </a:extLst>
            </p:cNvPr>
            <p:cNvSpPr txBox="1"/>
            <p:nvPr/>
          </p:nvSpPr>
          <p:spPr>
            <a:xfrm>
              <a:off x="11793901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46+</a:t>
              </a:r>
            </a:p>
          </p:txBody>
        </p:sp>
      </p:grpSp>
      <p:sp>
        <p:nvSpPr>
          <p:cNvPr id="100" name="Right Brace 99">
            <a:extLst>
              <a:ext uri="{FF2B5EF4-FFF2-40B4-BE49-F238E27FC236}">
                <a16:creationId xmlns:a16="http://schemas.microsoft.com/office/drawing/2014/main" id="{F4B36D58-0EFB-58A5-4B26-D9C8514E1CD1}"/>
              </a:ext>
            </a:extLst>
          </p:cNvPr>
          <p:cNvSpPr/>
          <p:nvPr/>
        </p:nvSpPr>
        <p:spPr>
          <a:xfrm rot="16200000">
            <a:off x="2499291" y="3201995"/>
            <a:ext cx="334950" cy="3286632"/>
          </a:xfrm>
          <a:prstGeom prst="rightBrac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F842409-7EAD-E8F8-D01C-48F36F238213}"/>
              </a:ext>
            </a:extLst>
          </p:cNvPr>
          <p:cNvSpPr txBox="1"/>
          <p:nvPr/>
        </p:nvSpPr>
        <p:spPr>
          <a:xfrm>
            <a:off x="940158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18 - 2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526BC31-2729-3227-F778-02463626597F}"/>
              </a:ext>
            </a:extLst>
          </p:cNvPr>
          <p:cNvSpPr txBox="1"/>
          <p:nvPr/>
        </p:nvSpPr>
        <p:spPr>
          <a:xfrm>
            <a:off x="1936764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26 - 35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2339DA4-F8C6-1408-CD45-EC29793D2143}"/>
              </a:ext>
            </a:extLst>
          </p:cNvPr>
          <p:cNvSpPr txBox="1"/>
          <p:nvPr/>
        </p:nvSpPr>
        <p:spPr>
          <a:xfrm>
            <a:off x="3040285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36 - 45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3A6ACC7-BB62-E4C9-E950-0EB09D815DD1}"/>
              </a:ext>
            </a:extLst>
          </p:cNvPr>
          <p:cNvSpPr txBox="1"/>
          <p:nvPr/>
        </p:nvSpPr>
        <p:spPr>
          <a:xfrm>
            <a:off x="4123975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46+</a:t>
            </a:r>
          </a:p>
        </p:txBody>
      </p:sp>
      <p:sp>
        <p:nvSpPr>
          <p:cNvPr id="107" name="Flowchart: Connector 106">
            <a:extLst>
              <a:ext uri="{FF2B5EF4-FFF2-40B4-BE49-F238E27FC236}">
                <a16:creationId xmlns:a16="http://schemas.microsoft.com/office/drawing/2014/main" id="{43790D2C-7604-CD77-9D6B-B16FFF6742EF}"/>
              </a:ext>
            </a:extLst>
          </p:cNvPr>
          <p:cNvSpPr/>
          <p:nvPr/>
        </p:nvSpPr>
        <p:spPr>
          <a:xfrm>
            <a:off x="4011269" y="5319113"/>
            <a:ext cx="623892" cy="59330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05154B8-6AD1-D973-5C0D-9E5AF5533C1A}"/>
              </a:ext>
            </a:extLst>
          </p:cNvPr>
          <p:cNvSpPr txBox="1"/>
          <p:nvPr/>
        </p:nvSpPr>
        <p:spPr>
          <a:xfrm>
            <a:off x="3947754" y="5480238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120.9k</a:t>
            </a:r>
          </a:p>
        </p:txBody>
      </p:sp>
      <p:sp>
        <p:nvSpPr>
          <p:cNvPr id="109" name="Flowchart: Connector 108">
            <a:extLst>
              <a:ext uri="{FF2B5EF4-FFF2-40B4-BE49-F238E27FC236}">
                <a16:creationId xmlns:a16="http://schemas.microsoft.com/office/drawing/2014/main" id="{913D722D-0262-7067-A4F5-2D4F3CFE9C7F}"/>
              </a:ext>
            </a:extLst>
          </p:cNvPr>
          <p:cNvSpPr/>
          <p:nvPr/>
        </p:nvSpPr>
        <p:spPr>
          <a:xfrm>
            <a:off x="7591347" y="5317598"/>
            <a:ext cx="511200" cy="5112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C918371-02DA-1698-5BFD-7ACDF1682EBC}"/>
              </a:ext>
            </a:extLst>
          </p:cNvPr>
          <p:cNvSpPr txBox="1"/>
          <p:nvPr/>
        </p:nvSpPr>
        <p:spPr>
          <a:xfrm>
            <a:off x="7469862" y="5438446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101.8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k</a:t>
            </a:r>
          </a:p>
        </p:txBody>
      </p:sp>
      <p:sp>
        <p:nvSpPr>
          <p:cNvPr id="111" name="Flowchart: Connector 110">
            <a:extLst>
              <a:ext uri="{FF2B5EF4-FFF2-40B4-BE49-F238E27FC236}">
                <a16:creationId xmlns:a16="http://schemas.microsoft.com/office/drawing/2014/main" id="{5BAE2D57-6070-0AD1-D447-B3D1A637CFBA}"/>
              </a:ext>
            </a:extLst>
          </p:cNvPr>
          <p:cNvSpPr/>
          <p:nvPr/>
        </p:nvSpPr>
        <p:spPr>
          <a:xfrm>
            <a:off x="8592895" y="5258891"/>
            <a:ext cx="726080" cy="7200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5D67DA5-B14C-CBC9-264C-F740EFED1762}"/>
              </a:ext>
            </a:extLst>
          </p:cNvPr>
          <p:cNvSpPr txBox="1"/>
          <p:nvPr/>
        </p:nvSpPr>
        <p:spPr>
          <a:xfrm>
            <a:off x="8600535" y="5474710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324.1k</a:t>
            </a:r>
          </a:p>
        </p:txBody>
      </p:sp>
      <p:sp>
        <p:nvSpPr>
          <p:cNvPr id="113" name="Flowchart: Connector 112">
            <a:extLst>
              <a:ext uri="{FF2B5EF4-FFF2-40B4-BE49-F238E27FC236}">
                <a16:creationId xmlns:a16="http://schemas.microsoft.com/office/drawing/2014/main" id="{0B41A274-9A41-E85A-82FF-31E96259DCE8}"/>
              </a:ext>
            </a:extLst>
          </p:cNvPr>
          <p:cNvSpPr/>
          <p:nvPr/>
        </p:nvSpPr>
        <p:spPr>
          <a:xfrm>
            <a:off x="9798713" y="5326663"/>
            <a:ext cx="623892" cy="5933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225F864-614F-6957-1543-9A84F9CB8DD5}"/>
              </a:ext>
            </a:extLst>
          </p:cNvPr>
          <p:cNvSpPr txBox="1"/>
          <p:nvPr/>
        </p:nvSpPr>
        <p:spPr>
          <a:xfrm>
            <a:off x="9735198" y="5487788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194.3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k</a:t>
            </a:r>
          </a:p>
        </p:txBody>
      </p:sp>
      <p:sp>
        <p:nvSpPr>
          <p:cNvPr id="115" name="Flowchart: Connector 114">
            <a:extLst>
              <a:ext uri="{FF2B5EF4-FFF2-40B4-BE49-F238E27FC236}">
                <a16:creationId xmlns:a16="http://schemas.microsoft.com/office/drawing/2014/main" id="{A0F89411-D125-7D5E-BF45-D95D3595A5DA}"/>
              </a:ext>
            </a:extLst>
          </p:cNvPr>
          <p:cNvSpPr/>
          <p:nvPr/>
        </p:nvSpPr>
        <p:spPr>
          <a:xfrm>
            <a:off x="10958122" y="5353789"/>
            <a:ext cx="540541" cy="51793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2BAB8982-47B8-96E4-9904-73D8008822A6}"/>
              </a:ext>
            </a:extLst>
          </p:cNvPr>
          <p:cNvSpPr txBox="1"/>
          <p:nvPr/>
        </p:nvSpPr>
        <p:spPr>
          <a:xfrm>
            <a:off x="10845653" y="5477229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ZA" sz="1200" b="1">
                <a:solidFill>
                  <a:srgbClr val="FFFFFF"/>
                </a:solidFill>
                <a:latin typeface="VAG Rounded Std Thin"/>
              </a:rPr>
              <a:t>154.7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k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8C61E1-7380-7233-FBFA-A1F71CCB4233}"/>
              </a:ext>
            </a:extLst>
          </p:cNvPr>
          <p:cNvSpPr/>
          <p:nvPr/>
        </p:nvSpPr>
        <p:spPr>
          <a:xfrm>
            <a:off x="388912" y="3547008"/>
            <a:ext cx="4638174" cy="2811254"/>
          </a:xfrm>
          <a:prstGeom prst="roundRect">
            <a:avLst/>
          </a:prstGeom>
          <a:noFill/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KE">
              <a:solidFill>
                <a:schemeClr val="accent3"/>
              </a:solidFill>
              <a:latin typeface="VAG Rounded Std Thin"/>
            </a:endParaRPr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C286F866-7631-21B3-370C-9E9AD20AB48D}"/>
              </a:ext>
            </a:extLst>
          </p:cNvPr>
          <p:cNvSpPr/>
          <p:nvPr/>
        </p:nvSpPr>
        <p:spPr>
          <a:xfrm>
            <a:off x="6861245" y="1881818"/>
            <a:ext cx="1937519" cy="1261168"/>
          </a:xfrm>
          <a:prstGeom prst="leftArrow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latin typeface="VAG Rounded Std Thin"/>
              </a:rPr>
              <a:t>35.5%</a:t>
            </a:r>
            <a:r>
              <a:rPr lang="en-GB" sz="1200" b="1">
                <a:latin typeface="VAG Rounded Std Thin"/>
              </a:rPr>
              <a:t> </a:t>
            </a:r>
            <a:r>
              <a:rPr lang="en-GB" sz="1000" b="1">
                <a:solidFill>
                  <a:schemeClr val="bg1"/>
                </a:solidFill>
                <a:latin typeface="VAG Rounded Std Thin"/>
              </a:rPr>
              <a:t>operational businesses have bank accounts</a:t>
            </a:r>
            <a:endParaRPr lang="en-KE" b="1">
              <a:solidFill>
                <a:schemeClr val="bg1"/>
              </a:solidFill>
              <a:latin typeface="VAG Rounded Std Thin"/>
            </a:endParaRPr>
          </a:p>
        </p:txBody>
      </p:sp>
    </p:spTree>
    <p:extLst>
      <p:ext uri="{BB962C8B-B14F-4D97-AF65-F5344CB8AC3E}">
        <p14:creationId xmlns:p14="http://schemas.microsoft.com/office/powerpoint/2010/main" val="13553972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4BC2C-1B05-1D55-38BD-5DEC4AB16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640" y="101110"/>
            <a:ext cx="8540496" cy="999558"/>
          </a:xfrm>
        </p:spPr>
        <p:txBody>
          <a:bodyPr>
            <a:noAutofit/>
          </a:bodyPr>
          <a:lstStyle/>
          <a:p>
            <a:r>
              <a:rPr lang="en-ZA" sz="2800" b="1">
                <a:solidFill>
                  <a:srgbClr val="F69320"/>
                </a:solidFill>
                <a:latin typeface="VAG Rounded Std Thin" panose="020F0402020204020204" pitchFamily="34" charset="0"/>
              </a:rPr>
              <a:t>Male business owners have higher median monthly incomes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D34C41-6CDA-B0F0-FA33-2071DDAEFA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82826" y="1275713"/>
            <a:ext cx="6826349" cy="274324"/>
          </a:xfrm>
        </p:spPr>
        <p:txBody>
          <a:bodyPr>
            <a:normAutofit lnSpcReduction="10000"/>
          </a:bodyPr>
          <a:lstStyle/>
          <a:p>
            <a:r>
              <a:rPr lang="en-ZA"/>
              <a:t>MEDIAN MONTHLY INCOME OF BUSINESS OWNERS BY SEGMENT: 202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55AB53-94B0-D966-82C0-2110D03832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/>
              <a:t>(18+; 3.7 Million Operational Businesses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D8361E4-19F9-C0ED-547B-6C4F6D7E9C26}"/>
              </a:ext>
            </a:extLst>
          </p:cNvPr>
          <p:cNvGraphicFramePr/>
          <p:nvPr/>
        </p:nvGraphicFramePr>
        <p:xfrm>
          <a:off x="1178560" y="2124455"/>
          <a:ext cx="9834880" cy="3632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28F3F6D-A290-14E4-27E1-81989503C4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72886" y="6331750"/>
            <a:ext cx="10947291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kumimoji="0" lang="en-ZA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FinAccess</a:t>
            </a: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 2024. Note: Business owners defined by main source of income is own business / self-employed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4AFBF70-8242-3AD6-E3F7-39D0E6174495}"/>
              </a:ext>
            </a:extLst>
          </p:cNvPr>
          <p:cNvSpPr/>
          <p:nvPr/>
        </p:nvSpPr>
        <p:spPr>
          <a:xfrm>
            <a:off x="2912576" y="3878158"/>
            <a:ext cx="1293862" cy="1992703"/>
          </a:xfrm>
          <a:prstGeom prst="roundRect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KE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5200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D148E8-2BD7-650B-20D6-982727499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9637" y="125990"/>
            <a:ext cx="9184245" cy="881151"/>
          </a:xfrm>
        </p:spPr>
        <p:txBody>
          <a:bodyPr>
            <a:noAutofit/>
          </a:bodyPr>
          <a:lstStyle/>
          <a:p>
            <a:r>
              <a:rPr lang="en-GB" sz="2800">
                <a:solidFill>
                  <a:srgbClr val="F69320"/>
                </a:solidFill>
                <a:latin typeface="VAG Rounded Std Thin" panose="020F0402020204020204" pitchFamily="34" charset="0"/>
              </a:rPr>
              <a:t>How might we help women MSMEs with financial solutions for investing?</a:t>
            </a:r>
            <a:endParaRPr lang="en-KE" sz="2800">
              <a:solidFill>
                <a:srgbClr val="F69320"/>
              </a:solidFill>
              <a:latin typeface="VAG Rounded Std Thin" panose="020F0402020204020204" pitchFamily="34" charset="0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21864D9-8857-CC42-C601-B6E1AD883142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235546110"/>
              </p:ext>
            </p:extLst>
          </p:nvPr>
        </p:nvGraphicFramePr>
        <p:xfrm>
          <a:off x="235770" y="1505418"/>
          <a:ext cx="4028222" cy="4720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623F6B2F-12FD-48DF-E70B-5732DBE3F2DA}"/>
              </a:ext>
            </a:extLst>
          </p:cNvPr>
          <p:cNvGrpSpPr/>
          <p:nvPr/>
        </p:nvGrpSpPr>
        <p:grpSpPr>
          <a:xfrm>
            <a:off x="4401608" y="4067346"/>
            <a:ext cx="6755803" cy="2620246"/>
            <a:chOff x="1411646" y="4536528"/>
            <a:chExt cx="4892675" cy="2793177"/>
          </a:xfrm>
        </p:grpSpPr>
        <p:graphicFrame>
          <p:nvGraphicFramePr>
            <p:cNvPr id="5" name="Content Placeholder 20">
              <a:extLst>
                <a:ext uri="{FF2B5EF4-FFF2-40B4-BE49-F238E27FC236}">
                  <a16:creationId xmlns:a16="http://schemas.microsoft.com/office/drawing/2014/main" id="{251732F8-A9FC-BB71-1587-6ED3E7670446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411646" y="4536528"/>
            <a:ext cx="4892675" cy="27931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2F2227D2-10BC-607C-F4AB-A6020AF56E95}"/>
                </a:ext>
              </a:extLst>
            </p:cNvPr>
            <p:cNvCxnSpPr>
              <a:cxnSpLocks/>
            </p:cNvCxnSpPr>
            <p:nvPr/>
          </p:nvCxnSpPr>
          <p:spPr>
            <a:xfrm>
              <a:off x="4590131" y="5419325"/>
              <a:ext cx="0" cy="390859"/>
            </a:xfrm>
            <a:prstGeom prst="straightConnector1">
              <a:avLst/>
            </a:prstGeom>
            <a:ln w="76200">
              <a:solidFill>
                <a:srgbClr val="A4323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Content Placeholder 20">
            <a:extLst>
              <a:ext uri="{FF2B5EF4-FFF2-40B4-BE49-F238E27FC236}">
                <a16:creationId xmlns:a16="http://schemas.microsoft.com/office/drawing/2014/main" id="{C3BA42AB-B432-6678-B702-CAEEEDF3FB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0045232"/>
              </p:ext>
            </p:extLst>
          </p:nvPr>
        </p:nvGraphicFramePr>
        <p:xfrm>
          <a:off x="4533267" y="1442673"/>
          <a:ext cx="6766099" cy="273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5F7BB2F-B44D-47B4-A17E-037CF6B9C562}"/>
              </a:ext>
            </a:extLst>
          </p:cNvPr>
          <p:cNvCxnSpPr>
            <a:cxnSpLocks/>
          </p:cNvCxnSpPr>
          <p:nvPr/>
        </p:nvCxnSpPr>
        <p:spPr>
          <a:xfrm>
            <a:off x="8902359" y="2314855"/>
            <a:ext cx="0" cy="381000"/>
          </a:xfrm>
          <a:prstGeom prst="straightConnector1">
            <a:avLst/>
          </a:prstGeom>
          <a:ln w="76200">
            <a:solidFill>
              <a:srgbClr val="A4323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CF768CF-E7DA-4656-AEF5-C1999F3681FD}"/>
              </a:ext>
            </a:extLst>
          </p:cNvPr>
          <p:cNvCxnSpPr>
            <a:cxnSpLocks/>
          </p:cNvCxnSpPr>
          <p:nvPr/>
        </p:nvCxnSpPr>
        <p:spPr>
          <a:xfrm>
            <a:off x="4295777" y="1395123"/>
            <a:ext cx="0" cy="5262927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2937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EB94B0-3528-EA5A-8780-24C1672EA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7FBE37C-1EE8-6A76-1A73-054FB07BBB81}"/>
              </a:ext>
            </a:extLst>
          </p:cNvPr>
          <p:cNvSpPr txBox="1"/>
          <p:nvPr/>
        </p:nvSpPr>
        <p:spPr>
          <a:xfrm>
            <a:off x="1910829" y="60051"/>
            <a:ext cx="8077840" cy="787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2000" b="1" kern="100">
                <a:solidFill>
                  <a:srgbClr val="F69320"/>
                </a:solidFill>
                <a:effectLst/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impacts…women-led MSMEs often match or outperform men on repayment, yet receive smaller share of formal credit…</a:t>
            </a:r>
            <a:endParaRPr lang="en-US" sz="2000" kern="100">
              <a:solidFill>
                <a:srgbClr val="F69320"/>
              </a:solidFill>
              <a:effectLst/>
              <a:latin typeface="VAG Rounded Std Thin" panose="020F0402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F6F55F5-AEF6-3F7F-23AF-2E031A153D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6152553"/>
              </p:ext>
            </p:extLst>
          </p:nvPr>
        </p:nvGraphicFramePr>
        <p:xfrm>
          <a:off x="300258" y="943779"/>
          <a:ext cx="5071872" cy="2905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8B71106-4BF7-3AFF-C781-E2FD85B732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6795426"/>
              </p:ext>
            </p:extLst>
          </p:nvPr>
        </p:nvGraphicFramePr>
        <p:xfrm>
          <a:off x="6096000" y="4339684"/>
          <a:ext cx="4848014" cy="2091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E9AEDD9-1C54-B9A0-22EA-D236FCBEB1E8}"/>
              </a:ext>
            </a:extLst>
          </p:cNvPr>
          <p:cNvSpPr txBox="1"/>
          <p:nvPr/>
        </p:nvSpPr>
        <p:spPr>
          <a:xfrm>
            <a:off x="300258" y="6495123"/>
            <a:ext cx="4685398" cy="24622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>
                <a:latin typeface="Century Gothic" panose="020B0502020202020204" pitchFamily="34" charset="0"/>
              </a:rPr>
              <a:t>Source: CIS Kenya 2024 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F26DFC9-48B1-8185-DEE2-24FB17E613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048205"/>
              </p:ext>
            </p:extLst>
          </p:nvPr>
        </p:nvGraphicFramePr>
        <p:xfrm>
          <a:off x="5372130" y="943778"/>
          <a:ext cx="5372070" cy="2905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3E5D510-975A-B7F8-E569-2AE51FBE18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7696553"/>
              </p:ext>
            </p:extLst>
          </p:nvPr>
        </p:nvGraphicFramePr>
        <p:xfrm>
          <a:off x="525610" y="4385177"/>
          <a:ext cx="4848014" cy="2091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4CBF53-6FEF-6322-5EC3-C585CA58D09F}"/>
              </a:ext>
            </a:extLst>
          </p:cNvPr>
          <p:cNvCxnSpPr>
            <a:cxnSpLocks/>
          </p:cNvCxnSpPr>
          <p:nvPr/>
        </p:nvCxnSpPr>
        <p:spPr>
          <a:xfrm>
            <a:off x="729373" y="3984171"/>
            <a:ext cx="9285514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11902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C5F034-51BC-4817-AE09-BE501A6F4305}"/>
              </a:ext>
            </a:extLst>
          </p:cNvPr>
          <p:cNvCxnSpPr/>
          <p:nvPr/>
        </p:nvCxnSpPr>
        <p:spPr>
          <a:xfrm>
            <a:off x="4988232" y="2995628"/>
            <a:ext cx="5816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5BDAD1E-0059-4108-BCE6-A3C75E736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0590" y="42452"/>
            <a:ext cx="8545282" cy="861772"/>
          </a:xfrm>
        </p:spPr>
        <p:txBody>
          <a:bodyPr lIns="0" tIns="0" rIns="0" bIns="0">
            <a:no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2000" kern="100">
                <a:ea typeface="Calibri" panose="020F0502020204030204" pitchFamily="34" charset="0"/>
                <a:cs typeface="Times New Roman" panose="02020603050405020304" pitchFamily="18" charset="0"/>
              </a:rPr>
              <a:t>The Problem: The missing links in gender-smart finance…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32FBEC2-D7CC-08C2-B827-9B962B5492A6}"/>
              </a:ext>
            </a:extLst>
          </p:cNvPr>
          <p:cNvGrpSpPr/>
          <p:nvPr/>
        </p:nvGrpSpPr>
        <p:grpSpPr>
          <a:xfrm>
            <a:off x="4017712" y="1997163"/>
            <a:ext cx="361950" cy="363538"/>
            <a:chOff x="3390900" y="2884488"/>
            <a:chExt cx="361950" cy="363538"/>
          </a:xfrm>
          <a:solidFill>
            <a:schemeClr val="bg1"/>
          </a:solidFill>
        </p:grpSpPr>
        <p:sp>
          <p:nvSpPr>
            <p:cNvPr id="11" name="Freeform 1700">
              <a:extLst>
                <a:ext uri="{FF2B5EF4-FFF2-40B4-BE49-F238E27FC236}">
                  <a16:creationId xmlns:a16="http://schemas.microsoft.com/office/drawing/2014/main" id="{9F7DDAC0-AB32-FD15-6C62-93605887E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2884488"/>
              <a:ext cx="361950" cy="363538"/>
            </a:xfrm>
            <a:custGeom>
              <a:avLst/>
              <a:gdLst>
                <a:gd name="T0" fmla="*/ 49 w 96"/>
                <a:gd name="T1" fmla="*/ 97 h 97"/>
                <a:gd name="T2" fmla="*/ 47 w 96"/>
                <a:gd name="T3" fmla="*/ 95 h 97"/>
                <a:gd name="T4" fmla="*/ 49 w 96"/>
                <a:gd name="T5" fmla="*/ 93 h 97"/>
                <a:gd name="T6" fmla="*/ 75 w 96"/>
                <a:gd name="T7" fmla="*/ 83 h 97"/>
                <a:gd name="T8" fmla="*/ 78 w 96"/>
                <a:gd name="T9" fmla="*/ 84 h 97"/>
                <a:gd name="T10" fmla="*/ 78 w 96"/>
                <a:gd name="T11" fmla="*/ 87 h 97"/>
                <a:gd name="T12" fmla="*/ 49 w 96"/>
                <a:gd name="T13" fmla="*/ 97 h 97"/>
                <a:gd name="T14" fmla="*/ 49 w 96"/>
                <a:gd name="T15" fmla="*/ 97 h 97"/>
                <a:gd name="T16" fmla="*/ 38 w 96"/>
                <a:gd name="T17" fmla="*/ 96 h 97"/>
                <a:gd name="T18" fmla="*/ 37 w 96"/>
                <a:gd name="T19" fmla="*/ 96 h 97"/>
                <a:gd name="T20" fmla="*/ 11 w 96"/>
                <a:gd name="T21" fmla="*/ 80 h 97"/>
                <a:gd name="T22" fmla="*/ 11 w 96"/>
                <a:gd name="T23" fmla="*/ 77 h 97"/>
                <a:gd name="T24" fmla="*/ 14 w 96"/>
                <a:gd name="T25" fmla="*/ 77 h 97"/>
                <a:gd name="T26" fmla="*/ 38 w 96"/>
                <a:gd name="T27" fmla="*/ 92 h 97"/>
                <a:gd name="T28" fmla="*/ 40 w 96"/>
                <a:gd name="T29" fmla="*/ 94 h 97"/>
                <a:gd name="T30" fmla="*/ 38 w 96"/>
                <a:gd name="T31" fmla="*/ 96 h 97"/>
                <a:gd name="T32" fmla="*/ 85 w 96"/>
                <a:gd name="T33" fmla="*/ 79 h 97"/>
                <a:gd name="T34" fmla="*/ 83 w 96"/>
                <a:gd name="T35" fmla="*/ 79 h 97"/>
                <a:gd name="T36" fmla="*/ 83 w 96"/>
                <a:gd name="T37" fmla="*/ 76 h 97"/>
                <a:gd name="T38" fmla="*/ 92 w 96"/>
                <a:gd name="T39" fmla="*/ 49 h 97"/>
                <a:gd name="T40" fmla="*/ 94 w 96"/>
                <a:gd name="T41" fmla="*/ 47 h 97"/>
                <a:gd name="T42" fmla="*/ 96 w 96"/>
                <a:gd name="T43" fmla="*/ 49 h 97"/>
                <a:gd name="T44" fmla="*/ 96 w 96"/>
                <a:gd name="T45" fmla="*/ 49 h 97"/>
                <a:gd name="T46" fmla="*/ 86 w 96"/>
                <a:gd name="T47" fmla="*/ 78 h 97"/>
                <a:gd name="T48" fmla="*/ 85 w 96"/>
                <a:gd name="T49" fmla="*/ 79 h 97"/>
                <a:gd name="T50" fmla="*/ 7 w 96"/>
                <a:gd name="T51" fmla="*/ 71 h 97"/>
                <a:gd name="T52" fmla="*/ 5 w 96"/>
                <a:gd name="T53" fmla="*/ 70 h 97"/>
                <a:gd name="T54" fmla="*/ 0 w 96"/>
                <a:gd name="T55" fmla="*/ 49 h 97"/>
                <a:gd name="T56" fmla="*/ 1 w 96"/>
                <a:gd name="T57" fmla="*/ 39 h 97"/>
                <a:gd name="T58" fmla="*/ 3 w 96"/>
                <a:gd name="T59" fmla="*/ 38 h 97"/>
                <a:gd name="T60" fmla="*/ 5 w 96"/>
                <a:gd name="T61" fmla="*/ 40 h 97"/>
                <a:gd name="T62" fmla="*/ 4 w 96"/>
                <a:gd name="T63" fmla="*/ 49 h 97"/>
                <a:gd name="T64" fmla="*/ 8 w 96"/>
                <a:gd name="T65" fmla="*/ 68 h 97"/>
                <a:gd name="T66" fmla="*/ 7 w 96"/>
                <a:gd name="T67" fmla="*/ 71 h 97"/>
                <a:gd name="T68" fmla="*/ 7 w 96"/>
                <a:gd name="T69" fmla="*/ 71 h 97"/>
                <a:gd name="T70" fmla="*/ 93 w 96"/>
                <a:gd name="T71" fmla="*/ 40 h 97"/>
                <a:gd name="T72" fmla="*/ 91 w 96"/>
                <a:gd name="T73" fmla="*/ 38 h 97"/>
                <a:gd name="T74" fmla="*/ 75 w 96"/>
                <a:gd name="T75" fmla="*/ 14 h 97"/>
                <a:gd name="T76" fmla="*/ 75 w 96"/>
                <a:gd name="T77" fmla="*/ 12 h 97"/>
                <a:gd name="T78" fmla="*/ 78 w 96"/>
                <a:gd name="T79" fmla="*/ 11 h 97"/>
                <a:gd name="T80" fmla="*/ 95 w 96"/>
                <a:gd name="T81" fmla="*/ 37 h 97"/>
                <a:gd name="T82" fmla="*/ 93 w 96"/>
                <a:gd name="T83" fmla="*/ 40 h 97"/>
                <a:gd name="T84" fmla="*/ 93 w 96"/>
                <a:gd name="T85" fmla="*/ 40 h 97"/>
                <a:gd name="T86" fmla="*/ 6 w 96"/>
                <a:gd name="T87" fmla="*/ 31 h 97"/>
                <a:gd name="T88" fmla="*/ 6 w 96"/>
                <a:gd name="T89" fmla="*/ 31 h 97"/>
                <a:gd name="T90" fmla="*/ 5 w 96"/>
                <a:gd name="T91" fmla="*/ 28 h 97"/>
                <a:gd name="T92" fmla="*/ 26 w 96"/>
                <a:gd name="T93" fmla="*/ 6 h 97"/>
                <a:gd name="T94" fmla="*/ 29 w 96"/>
                <a:gd name="T95" fmla="*/ 7 h 97"/>
                <a:gd name="T96" fmla="*/ 28 w 96"/>
                <a:gd name="T97" fmla="*/ 10 h 97"/>
                <a:gd name="T98" fmla="*/ 8 w 96"/>
                <a:gd name="T99" fmla="*/ 30 h 97"/>
                <a:gd name="T100" fmla="*/ 6 w 96"/>
                <a:gd name="T101" fmla="*/ 31 h 97"/>
                <a:gd name="T102" fmla="*/ 67 w 96"/>
                <a:gd name="T103" fmla="*/ 9 h 97"/>
                <a:gd name="T104" fmla="*/ 66 w 96"/>
                <a:gd name="T105" fmla="*/ 9 h 97"/>
                <a:gd name="T106" fmla="*/ 38 w 96"/>
                <a:gd name="T107" fmla="*/ 6 h 97"/>
                <a:gd name="T108" fmla="*/ 36 w 96"/>
                <a:gd name="T109" fmla="*/ 5 h 97"/>
                <a:gd name="T110" fmla="*/ 37 w 96"/>
                <a:gd name="T111" fmla="*/ 2 h 97"/>
                <a:gd name="T112" fmla="*/ 68 w 96"/>
                <a:gd name="T113" fmla="*/ 5 h 97"/>
                <a:gd name="T114" fmla="*/ 69 w 96"/>
                <a:gd name="T115" fmla="*/ 8 h 97"/>
                <a:gd name="T116" fmla="*/ 67 w 96"/>
                <a:gd name="T117" fmla="*/ 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97">
                  <a:moveTo>
                    <a:pt x="49" y="97"/>
                  </a:moveTo>
                  <a:cubicBezTo>
                    <a:pt x="48" y="97"/>
                    <a:pt x="47" y="96"/>
                    <a:pt x="47" y="95"/>
                  </a:cubicBezTo>
                  <a:cubicBezTo>
                    <a:pt x="47" y="94"/>
                    <a:pt x="48" y="93"/>
                    <a:pt x="49" y="93"/>
                  </a:cubicBezTo>
                  <a:cubicBezTo>
                    <a:pt x="59" y="93"/>
                    <a:pt x="68" y="89"/>
                    <a:pt x="75" y="83"/>
                  </a:cubicBezTo>
                  <a:cubicBezTo>
                    <a:pt x="76" y="83"/>
                    <a:pt x="78" y="83"/>
                    <a:pt x="78" y="84"/>
                  </a:cubicBezTo>
                  <a:cubicBezTo>
                    <a:pt x="79" y="85"/>
                    <a:pt x="79" y="86"/>
                    <a:pt x="78" y="87"/>
                  </a:cubicBezTo>
                  <a:cubicBezTo>
                    <a:pt x="70" y="93"/>
                    <a:pt x="60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lose/>
                  <a:moveTo>
                    <a:pt x="38" y="96"/>
                  </a:moveTo>
                  <a:cubicBezTo>
                    <a:pt x="38" y="96"/>
                    <a:pt x="38" y="96"/>
                    <a:pt x="37" y="96"/>
                  </a:cubicBezTo>
                  <a:cubicBezTo>
                    <a:pt x="27" y="94"/>
                    <a:pt x="18" y="88"/>
                    <a:pt x="11" y="80"/>
                  </a:cubicBezTo>
                  <a:cubicBezTo>
                    <a:pt x="10" y="79"/>
                    <a:pt x="11" y="78"/>
                    <a:pt x="11" y="77"/>
                  </a:cubicBezTo>
                  <a:cubicBezTo>
                    <a:pt x="12" y="76"/>
                    <a:pt x="13" y="76"/>
                    <a:pt x="14" y="77"/>
                  </a:cubicBezTo>
                  <a:cubicBezTo>
                    <a:pt x="20" y="85"/>
                    <a:pt x="29" y="90"/>
                    <a:pt x="38" y="92"/>
                  </a:cubicBezTo>
                  <a:cubicBezTo>
                    <a:pt x="39" y="92"/>
                    <a:pt x="40" y="93"/>
                    <a:pt x="40" y="94"/>
                  </a:cubicBezTo>
                  <a:cubicBezTo>
                    <a:pt x="40" y="95"/>
                    <a:pt x="39" y="96"/>
                    <a:pt x="38" y="96"/>
                  </a:cubicBezTo>
                  <a:close/>
                  <a:moveTo>
                    <a:pt x="85" y="79"/>
                  </a:moveTo>
                  <a:cubicBezTo>
                    <a:pt x="84" y="79"/>
                    <a:pt x="84" y="79"/>
                    <a:pt x="83" y="79"/>
                  </a:cubicBezTo>
                  <a:cubicBezTo>
                    <a:pt x="82" y="78"/>
                    <a:pt x="82" y="77"/>
                    <a:pt x="83" y="76"/>
                  </a:cubicBezTo>
                  <a:cubicBezTo>
                    <a:pt x="89" y="68"/>
                    <a:pt x="92" y="59"/>
                    <a:pt x="92" y="49"/>
                  </a:cubicBezTo>
                  <a:cubicBezTo>
                    <a:pt x="92" y="48"/>
                    <a:pt x="93" y="47"/>
                    <a:pt x="94" y="47"/>
                  </a:cubicBezTo>
                  <a:cubicBezTo>
                    <a:pt x="95" y="47"/>
                    <a:pt x="96" y="48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60"/>
                    <a:pt x="93" y="70"/>
                    <a:pt x="86" y="78"/>
                  </a:cubicBezTo>
                  <a:cubicBezTo>
                    <a:pt x="86" y="79"/>
                    <a:pt x="85" y="79"/>
                    <a:pt x="85" y="79"/>
                  </a:cubicBezTo>
                  <a:close/>
                  <a:moveTo>
                    <a:pt x="7" y="71"/>
                  </a:moveTo>
                  <a:cubicBezTo>
                    <a:pt x="6" y="71"/>
                    <a:pt x="5" y="71"/>
                    <a:pt x="5" y="70"/>
                  </a:cubicBezTo>
                  <a:cubicBezTo>
                    <a:pt x="2" y="63"/>
                    <a:pt x="0" y="56"/>
                    <a:pt x="0" y="49"/>
                  </a:cubicBezTo>
                  <a:cubicBezTo>
                    <a:pt x="0" y="46"/>
                    <a:pt x="0" y="43"/>
                    <a:pt x="1" y="39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4" y="38"/>
                    <a:pt x="5" y="39"/>
                    <a:pt x="5" y="40"/>
                  </a:cubicBezTo>
                  <a:cubicBezTo>
                    <a:pt x="4" y="43"/>
                    <a:pt x="4" y="46"/>
                    <a:pt x="4" y="49"/>
                  </a:cubicBezTo>
                  <a:cubicBezTo>
                    <a:pt x="4" y="56"/>
                    <a:pt x="5" y="62"/>
                    <a:pt x="8" y="68"/>
                  </a:cubicBezTo>
                  <a:cubicBezTo>
                    <a:pt x="9" y="69"/>
                    <a:pt x="8" y="70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lose/>
                  <a:moveTo>
                    <a:pt x="93" y="40"/>
                  </a:moveTo>
                  <a:cubicBezTo>
                    <a:pt x="92" y="40"/>
                    <a:pt x="91" y="39"/>
                    <a:pt x="91" y="38"/>
                  </a:cubicBezTo>
                  <a:cubicBezTo>
                    <a:pt x="88" y="29"/>
                    <a:pt x="83" y="20"/>
                    <a:pt x="75" y="14"/>
                  </a:cubicBezTo>
                  <a:cubicBezTo>
                    <a:pt x="74" y="14"/>
                    <a:pt x="74" y="13"/>
                    <a:pt x="75" y="12"/>
                  </a:cubicBezTo>
                  <a:cubicBezTo>
                    <a:pt x="76" y="11"/>
                    <a:pt x="77" y="11"/>
                    <a:pt x="78" y="11"/>
                  </a:cubicBezTo>
                  <a:cubicBezTo>
                    <a:pt x="86" y="18"/>
                    <a:pt x="92" y="27"/>
                    <a:pt x="95" y="37"/>
                  </a:cubicBezTo>
                  <a:cubicBezTo>
                    <a:pt x="95" y="38"/>
                    <a:pt x="94" y="39"/>
                    <a:pt x="93" y="40"/>
                  </a:cubicBezTo>
                  <a:cubicBezTo>
                    <a:pt x="93" y="40"/>
                    <a:pt x="93" y="40"/>
                    <a:pt x="93" y="40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5" y="30"/>
                    <a:pt x="4" y="29"/>
                    <a:pt x="5" y="28"/>
                  </a:cubicBezTo>
                  <a:cubicBezTo>
                    <a:pt x="9" y="19"/>
                    <a:pt x="17" y="11"/>
                    <a:pt x="26" y="6"/>
                  </a:cubicBezTo>
                  <a:cubicBezTo>
                    <a:pt x="27" y="6"/>
                    <a:pt x="28" y="6"/>
                    <a:pt x="29" y="7"/>
                  </a:cubicBezTo>
                  <a:cubicBezTo>
                    <a:pt x="29" y="8"/>
                    <a:pt x="29" y="9"/>
                    <a:pt x="28" y="10"/>
                  </a:cubicBezTo>
                  <a:cubicBezTo>
                    <a:pt x="19" y="14"/>
                    <a:pt x="12" y="21"/>
                    <a:pt x="8" y="30"/>
                  </a:cubicBezTo>
                  <a:cubicBezTo>
                    <a:pt x="8" y="31"/>
                    <a:pt x="7" y="31"/>
                    <a:pt x="6" y="31"/>
                  </a:cubicBezTo>
                  <a:close/>
                  <a:moveTo>
                    <a:pt x="67" y="9"/>
                  </a:moveTo>
                  <a:cubicBezTo>
                    <a:pt x="67" y="9"/>
                    <a:pt x="66" y="9"/>
                    <a:pt x="66" y="9"/>
                  </a:cubicBezTo>
                  <a:cubicBezTo>
                    <a:pt x="57" y="5"/>
                    <a:pt x="47" y="4"/>
                    <a:pt x="38" y="6"/>
                  </a:cubicBezTo>
                  <a:cubicBezTo>
                    <a:pt x="37" y="6"/>
                    <a:pt x="36" y="6"/>
                    <a:pt x="36" y="5"/>
                  </a:cubicBezTo>
                  <a:cubicBezTo>
                    <a:pt x="35" y="4"/>
                    <a:pt x="36" y="2"/>
                    <a:pt x="37" y="2"/>
                  </a:cubicBezTo>
                  <a:cubicBezTo>
                    <a:pt x="47" y="0"/>
                    <a:pt x="58" y="1"/>
                    <a:pt x="68" y="5"/>
                  </a:cubicBezTo>
                  <a:cubicBezTo>
                    <a:pt x="69" y="6"/>
                    <a:pt x="69" y="7"/>
                    <a:pt x="69" y="8"/>
                  </a:cubicBezTo>
                  <a:cubicBezTo>
                    <a:pt x="68" y="9"/>
                    <a:pt x="68" y="9"/>
                    <a:pt x="6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701">
              <a:extLst>
                <a:ext uri="{FF2B5EF4-FFF2-40B4-BE49-F238E27FC236}">
                  <a16:creationId xmlns:a16="http://schemas.microsoft.com/office/drawing/2014/main" id="{8C59B483-703D-3BF6-075E-E5946911D8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2994025"/>
              <a:ext cx="254000" cy="149225"/>
            </a:xfrm>
            <a:custGeom>
              <a:avLst/>
              <a:gdLst>
                <a:gd name="T0" fmla="*/ 34 w 68"/>
                <a:gd name="T1" fmla="*/ 40 h 40"/>
                <a:gd name="T2" fmla="*/ 0 w 68"/>
                <a:gd name="T3" fmla="*/ 21 h 40"/>
                <a:gd name="T4" fmla="*/ 0 w 68"/>
                <a:gd name="T5" fmla="*/ 19 h 40"/>
                <a:gd name="T6" fmla="*/ 34 w 68"/>
                <a:gd name="T7" fmla="*/ 0 h 40"/>
                <a:gd name="T8" fmla="*/ 67 w 68"/>
                <a:gd name="T9" fmla="*/ 19 h 40"/>
                <a:gd name="T10" fmla="*/ 67 w 68"/>
                <a:gd name="T11" fmla="*/ 21 h 40"/>
                <a:gd name="T12" fmla="*/ 34 w 68"/>
                <a:gd name="T13" fmla="*/ 40 h 40"/>
                <a:gd name="T14" fmla="*/ 5 w 68"/>
                <a:gd name="T15" fmla="*/ 20 h 40"/>
                <a:gd name="T16" fmla="*/ 34 w 68"/>
                <a:gd name="T17" fmla="*/ 36 h 40"/>
                <a:gd name="T18" fmla="*/ 63 w 68"/>
                <a:gd name="T19" fmla="*/ 20 h 40"/>
                <a:gd name="T20" fmla="*/ 34 w 68"/>
                <a:gd name="T21" fmla="*/ 4 h 40"/>
                <a:gd name="T22" fmla="*/ 5 w 68"/>
                <a:gd name="T2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40">
                  <a:moveTo>
                    <a:pt x="34" y="40"/>
                  </a:moveTo>
                  <a:cubicBezTo>
                    <a:pt x="15" y="40"/>
                    <a:pt x="1" y="22"/>
                    <a:pt x="0" y="21"/>
                  </a:cubicBezTo>
                  <a:cubicBezTo>
                    <a:pt x="0" y="21"/>
                    <a:pt x="0" y="19"/>
                    <a:pt x="0" y="19"/>
                  </a:cubicBezTo>
                  <a:cubicBezTo>
                    <a:pt x="1" y="18"/>
                    <a:pt x="15" y="0"/>
                    <a:pt x="34" y="0"/>
                  </a:cubicBezTo>
                  <a:cubicBezTo>
                    <a:pt x="52" y="0"/>
                    <a:pt x="67" y="18"/>
                    <a:pt x="67" y="19"/>
                  </a:cubicBezTo>
                  <a:cubicBezTo>
                    <a:pt x="68" y="19"/>
                    <a:pt x="68" y="21"/>
                    <a:pt x="67" y="21"/>
                  </a:cubicBezTo>
                  <a:cubicBezTo>
                    <a:pt x="67" y="22"/>
                    <a:pt x="52" y="40"/>
                    <a:pt x="34" y="40"/>
                  </a:cubicBezTo>
                  <a:close/>
                  <a:moveTo>
                    <a:pt x="5" y="20"/>
                  </a:moveTo>
                  <a:cubicBezTo>
                    <a:pt x="8" y="24"/>
                    <a:pt x="20" y="36"/>
                    <a:pt x="34" y="36"/>
                  </a:cubicBezTo>
                  <a:cubicBezTo>
                    <a:pt x="48" y="36"/>
                    <a:pt x="60" y="24"/>
                    <a:pt x="63" y="20"/>
                  </a:cubicBezTo>
                  <a:cubicBezTo>
                    <a:pt x="60" y="16"/>
                    <a:pt x="48" y="4"/>
                    <a:pt x="34" y="4"/>
                  </a:cubicBezTo>
                  <a:cubicBezTo>
                    <a:pt x="20" y="4"/>
                    <a:pt x="8" y="16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1702">
              <a:extLst>
                <a:ext uri="{FF2B5EF4-FFF2-40B4-BE49-F238E27FC236}">
                  <a16:creationId xmlns:a16="http://schemas.microsoft.com/office/drawing/2014/main" id="{FB00563D-D3BA-50FA-F876-0E38AE1E0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7425" y="3022600"/>
              <a:ext cx="88900" cy="9048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  <a:moveTo>
                    <a:pt x="12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E556786-6513-ABE1-F99E-971446F6BEF1}"/>
              </a:ext>
            </a:extLst>
          </p:cNvPr>
          <p:cNvGrpSpPr/>
          <p:nvPr/>
        </p:nvGrpSpPr>
        <p:grpSpPr>
          <a:xfrm>
            <a:off x="4379662" y="3704601"/>
            <a:ext cx="354012" cy="285750"/>
            <a:chOff x="4116388" y="2211388"/>
            <a:chExt cx="354012" cy="285750"/>
          </a:xfrm>
          <a:solidFill>
            <a:schemeClr val="bg1"/>
          </a:solidFill>
        </p:grpSpPr>
        <p:sp>
          <p:nvSpPr>
            <p:cNvPr id="32" name="Freeform 1192">
              <a:extLst>
                <a:ext uri="{FF2B5EF4-FFF2-40B4-BE49-F238E27FC236}">
                  <a16:creationId xmlns:a16="http://schemas.microsoft.com/office/drawing/2014/main" id="{6C56EABF-8EC4-45E0-B950-8613B027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2257425"/>
              <a:ext cx="14288" cy="239713"/>
            </a:xfrm>
            <a:custGeom>
              <a:avLst/>
              <a:gdLst>
                <a:gd name="T0" fmla="*/ 2 w 4"/>
                <a:gd name="T1" fmla="*/ 64 h 64"/>
                <a:gd name="T2" fmla="*/ 0 w 4"/>
                <a:gd name="T3" fmla="*/ 62 h 64"/>
                <a:gd name="T4" fmla="*/ 0 w 4"/>
                <a:gd name="T5" fmla="*/ 2 h 64"/>
                <a:gd name="T6" fmla="*/ 2 w 4"/>
                <a:gd name="T7" fmla="*/ 0 h 64"/>
                <a:gd name="T8" fmla="*/ 4 w 4"/>
                <a:gd name="T9" fmla="*/ 2 h 64"/>
                <a:gd name="T10" fmla="*/ 4 w 4"/>
                <a:gd name="T11" fmla="*/ 62 h 64"/>
                <a:gd name="T12" fmla="*/ 2 w 4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4">
                  <a:moveTo>
                    <a:pt x="2" y="64"/>
                  </a:move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3"/>
                    <a:pt x="3" y="64"/>
                    <a:pt x="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193">
              <a:extLst>
                <a:ext uri="{FF2B5EF4-FFF2-40B4-BE49-F238E27FC236}">
                  <a16:creationId xmlns:a16="http://schemas.microsoft.com/office/drawing/2014/main" id="{750B3CD9-805E-284C-B486-699FEDE00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275" y="2482850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194">
              <a:extLst>
                <a:ext uri="{FF2B5EF4-FFF2-40B4-BE49-F238E27FC236}">
                  <a16:creationId xmlns:a16="http://schemas.microsoft.com/office/drawing/2014/main" id="{3672D85B-4766-EC70-E557-94D74214D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388" y="2227263"/>
              <a:ext cx="120650" cy="134938"/>
            </a:xfrm>
            <a:custGeom>
              <a:avLst/>
              <a:gdLst>
                <a:gd name="T0" fmla="*/ 2 w 32"/>
                <a:gd name="T1" fmla="*/ 36 h 36"/>
                <a:gd name="T2" fmla="*/ 1 w 32"/>
                <a:gd name="T3" fmla="*/ 36 h 36"/>
                <a:gd name="T4" fmla="*/ 0 w 32"/>
                <a:gd name="T5" fmla="*/ 33 h 36"/>
                <a:gd name="T6" fmla="*/ 14 w 32"/>
                <a:gd name="T7" fmla="*/ 1 h 36"/>
                <a:gd name="T8" fmla="*/ 16 w 32"/>
                <a:gd name="T9" fmla="*/ 0 h 36"/>
                <a:gd name="T10" fmla="*/ 16 w 32"/>
                <a:gd name="T11" fmla="*/ 0 h 36"/>
                <a:gd name="T12" fmla="*/ 18 w 32"/>
                <a:gd name="T13" fmla="*/ 1 h 36"/>
                <a:gd name="T14" fmla="*/ 31 w 32"/>
                <a:gd name="T15" fmla="*/ 33 h 36"/>
                <a:gd name="T16" fmla="*/ 30 w 32"/>
                <a:gd name="T17" fmla="*/ 36 h 36"/>
                <a:gd name="T18" fmla="*/ 28 w 32"/>
                <a:gd name="T19" fmla="*/ 35 h 36"/>
                <a:gd name="T20" fmla="*/ 16 w 32"/>
                <a:gd name="T21" fmla="*/ 7 h 36"/>
                <a:gd name="T22" fmla="*/ 4 w 32"/>
                <a:gd name="T23" fmla="*/ 35 h 36"/>
                <a:gd name="T24" fmla="*/ 2 w 3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6">
                  <a:moveTo>
                    <a:pt x="2" y="36"/>
                  </a:moveTo>
                  <a:cubicBezTo>
                    <a:pt x="2" y="36"/>
                    <a:pt x="2" y="36"/>
                    <a:pt x="1" y="36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1"/>
                    <a:pt x="18" y="1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4"/>
                    <a:pt x="31" y="35"/>
                    <a:pt x="30" y="36"/>
                  </a:cubicBezTo>
                  <a:cubicBezTo>
                    <a:pt x="29" y="36"/>
                    <a:pt x="28" y="36"/>
                    <a:pt x="28" y="35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6"/>
                    <a:pt x="3" y="36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195">
              <a:extLst>
                <a:ext uri="{FF2B5EF4-FFF2-40B4-BE49-F238E27FC236}">
                  <a16:creationId xmlns:a16="http://schemas.microsoft.com/office/drawing/2014/main" id="{89DC938C-7F92-F0C8-461E-8DE2AB62F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6088" y="2211388"/>
              <a:ext cx="58738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196">
              <a:extLst>
                <a:ext uri="{FF2B5EF4-FFF2-40B4-BE49-F238E27FC236}">
                  <a16:creationId xmlns:a16="http://schemas.microsoft.com/office/drawing/2014/main" id="{D0F1F435-1EEC-CE00-6584-592671B87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2346325"/>
              <a:ext cx="115888" cy="71438"/>
            </a:xfrm>
            <a:custGeom>
              <a:avLst/>
              <a:gdLst>
                <a:gd name="T0" fmla="*/ 16 w 31"/>
                <a:gd name="T1" fmla="*/ 19 h 19"/>
                <a:gd name="T2" fmla="*/ 0 w 31"/>
                <a:gd name="T3" fmla="*/ 2 h 19"/>
                <a:gd name="T4" fmla="*/ 2 w 31"/>
                <a:gd name="T5" fmla="*/ 0 h 19"/>
                <a:gd name="T6" fmla="*/ 29 w 31"/>
                <a:gd name="T7" fmla="*/ 0 h 19"/>
                <a:gd name="T8" fmla="*/ 31 w 31"/>
                <a:gd name="T9" fmla="*/ 2 h 19"/>
                <a:gd name="T10" fmla="*/ 16 w 31"/>
                <a:gd name="T11" fmla="*/ 19 h 19"/>
                <a:gd name="T12" fmla="*/ 4 w 31"/>
                <a:gd name="T13" fmla="*/ 4 h 19"/>
                <a:gd name="T14" fmla="*/ 16 w 31"/>
                <a:gd name="T15" fmla="*/ 15 h 19"/>
                <a:gd name="T16" fmla="*/ 27 w 31"/>
                <a:gd name="T17" fmla="*/ 4 h 19"/>
                <a:gd name="T18" fmla="*/ 4 w 31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9">
                  <a:moveTo>
                    <a:pt x="16" y="19"/>
                  </a:moveTo>
                  <a:cubicBezTo>
                    <a:pt x="7" y="19"/>
                    <a:pt x="0" y="11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1" y="1"/>
                    <a:pt x="31" y="2"/>
                  </a:cubicBezTo>
                  <a:cubicBezTo>
                    <a:pt x="31" y="11"/>
                    <a:pt x="25" y="19"/>
                    <a:pt x="16" y="19"/>
                  </a:cubicBezTo>
                  <a:close/>
                  <a:moveTo>
                    <a:pt x="4" y="4"/>
                  </a:moveTo>
                  <a:cubicBezTo>
                    <a:pt x="5" y="10"/>
                    <a:pt x="10" y="15"/>
                    <a:pt x="16" y="15"/>
                  </a:cubicBezTo>
                  <a:cubicBezTo>
                    <a:pt x="22" y="15"/>
                    <a:pt x="26" y="10"/>
                    <a:pt x="27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197">
              <a:extLst>
                <a:ext uri="{FF2B5EF4-FFF2-40B4-BE49-F238E27FC236}">
                  <a16:creationId xmlns:a16="http://schemas.microsoft.com/office/drawing/2014/main" id="{E937B605-7696-7114-3737-759D2ABB6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0" y="2227263"/>
              <a:ext cx="120650" cy="134938"/>
            </a:xfrm>
            <a:custGeom>
              <a:avLst/>
              <a:gdLst>
                <a:gd name="T0" fmla="*/ 2 w 32"/>
                <a:gd name="T1" fmla="*/ 36 h 36"/>
                <a:gd name="T2" fmla="*/ 2 w 32"/>
                <a:gd name="T3" fmla="*/ 36 h 36"/>
                <a:gd name="T4" fmla="*/ 1 w 32"/>
                <a:gd name="T5" fmla="*/ 33 h 36"/>
                <a:gd name="T6" fmla="*/ 14 w 32"/>
                <a:gd name="T7" fmla="*/ 1 h 36"/>
                <a:gd name="T8" fmla="*/ 16 w 32"/>
                <a:gd name="T9" fmla="*/ 0 h 36"/>
                <a:gd name="T10" fmla="*/ 16 w 32"/>
                <a:gd name="T11" fmla="*/ 0 h 36"/>
                <a:gd name="T12" fmla="*/ 18 w 32"/>
                <a:gd name="T13" fmla="*/ 1 h 36"/>
                <a:gd name="T14" fmla="*/ 32 w 32"/>
                <a:gd name="T15" fmla="*/ 33 h 36"/>
                <a:gd name="T16" fmla="*/ 30 w 32"/>
                <a:gd name="T17" fmla="*/ 36 h 36"/>
                <a:gd name="T18" fmla="*/ 28 w 32"/>
                <a:gd name="T19" fmla="*/ 35 h 36"/>
                <a:gd name="T20" fmla="*/ 16 w 32"/>
                <a:gd name="T21" fmla="*/ 7 h 36"/>
                <a:gd name="T22" fmla="*/ 4 w 32"/>
                <a:gd name="T23" fmla="*/ 35 h 36"/>
                <a:gd name="T24" fmla="*/ 2 w 3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6">
                  <a:moveTo>
                    <a:pt x="2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1" y="35"/>
                    <a:pt x="0" y="34"/>
                    <a:pt x="1" y="33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1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4"/>
                    <a:pt x="31" y="35"/>
                    <a:pt x="30" y="36"/>
                  </a:cubicBezTo>
                  <a:cubicBezTo>
                    <a:pt x="29" y="36"/>
                    <a:pt x="28" y="36"/>
                    <a:pt x="28" y="35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6"/>
                    <a:pt x="3" y="36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198">
              <a:extLst>
                <a:ext uri="{FF2B5EF4-FFF2-40B4-BE49-F238E27FC236}">
                  <a16:creationId xmlns:a16="http://schemas.microsoft.com/office/drawing/2014/main" id="{6DE6F3E2-16B8-D23E-3C2A-15CD787D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9750" y="2346325"/>
              <a:ext cx="120650" cy="71438"/>
            </a:xfrm>
            <a:custGeom>
              <a:avLst/>
              <a:gdLst>
                <a:gd name="T0" fmla="*/ 16 w 32"/>
                <a:gd name="T1" fmla="*/ 19 h 19"/>
                <a:gd name="T2" fmla="*/ 0 w 32"/>
                <a:gd name="T3" fmla="*/ 2 h 19"/>
                <a:gd name="T4" fmla="*/ 2 w 32"/>
                <a:gd name="T5" fmla="*/ 0 h 19"/>
                <a:gd name="T6" fmla="*/ 30 w 32"/>
                <a:gd name="T7" fmla="*/ 0 h 19"/>
                <a:gd name="T8" fmla="*/ 32 w 32"/>
                <a:gd name="T9" fmla="*/ 2 h 19"/>
                <a:gd name="T10" fmla="*/ 16 w 32"/>
                <a:gd name="T11" fmla="*/ 19 h 19"/>
                <a:gd name="T12" fmla="*/ 5 w 32"/>
                <a:gd name="T13" fmla="*/ 4 h 19"/>
                <a:gd name="T14" fmla="*/ 16 w 32"/>
                <a:gd name="T15" fmla="*/ 15 h 19"/>
                <a:gd name="T16" fmla="*/ 28 w 32"/>
                <a:gd name="T17" fmla="*/ 4 h 19"/>
                <a:gd name="T18" fmla="*/ 5 w 32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">
                  <a:moveTo>
                    <a:pt x="16" y="19"/>
                  </a:moveTo>
                  <a:cubicBezTo>
                    <a:pt x="7" y="19"/>
                    <a:pt x="0" y="11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11"/>
                    <a:pt x="25" y="19"/>
                    <a:pt x="16" y="19"/>
                  </a:cubicBezTo>
                  <a:close/>
                  <a:moveTo>
                    <a:pt x="5" y="4"/>
                  </a:moveTo>
                  <a:cubicBezTo>
                    <a:pt x="5" y="10"/>
                    <a:pt x="10" y="15"/>
                    <a:pt x="16" y="15"/>
                  </a:cubicBezTo>
                  <a:cubicBezTo>
                    <a:pt x="22" y="15"/>
                    <a:pt x="27" y="10"/>
                    <a:pt x="28" y="4"/>
                  </a:cubicBezTo>
                  <a:lnTo>
                    <a:pt x="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199">
              <a:extLst>
                <a:ext uri="{FF2B5EF4-FFF2-40B4-BE49-F238E27FC236}">
                  <a16:creationId xmlns:a16="http://schemas.microsoft.com/office/drawing/2014/main" id="{0E8A4353-454D-3229-95B7-F39BA046B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227263"/>
              <a:ext cx="123825" cy="14288"/>
            </a:xfrm>
            <a:custGeom>
              <a:avLst/>
              <a:gdLst>
                <a:gd name="T0" fmla="*/ 31 w 33"/>
                <a:gd name="T1" fmla="*/ 4 h 4"/>
                <a:gd name="T2" fmla="*/ 2 w 33"/>
                <a:gd name="T3" fmla="*/ 4 h 4"/>
                <a:gd name="T4" fmla="*/ 0 w 33"/>
                <a:gd name="T5" fmla="*/ 2 h 4"/>
                <a:gd name="T6" fmla="*/ 2 w 33"/>
                <a:gd name="T7" fmla="*/ 0 h 4"/>
                <a:gd name="T8" fmla="*/ 31 w 33"/>
                <a:gd name="T9" fmla="*/ 0 h 4"/>
                <a:gd name="T10" fmla="*/ 33 w 33"/>
                <a:gd name="T11" fmla="*/ 2 h 4"/>
                <a:gd name="T12" fmla="*/ 31 w 3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4">
                  <a:moveTo>
                    <a:pt x="3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3" y="1"/>
                    <a:pt x="33" y="2"/>
                  </a:cubicBezTo>
                  <a:cubicBezTo>
                    <a:pt x="33" y="3"/>
                    <a:pt x="33" y="4"/>
                    <a:pt x="3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200">
              <a:extLst>
                <a:ext uri="{FF2B5EF4-FFF2-40B4-BE49-F238E27FC236}">
                  <a16:creationId xmlns:a16="http://schemas.microsoft.com/office/drawing/2014/main" id="{A4DE7AAA-5562-FCBC-D45A-9B1C402DF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227263"/>
              <a:ext cx="139700" cy="14288"/>
            </a:xfrm>
            <a:custGeom>
              <a:avLst/>
              <a:gdLst>
                <a:gd name="T0" fmla="*/ 35 w 37"/>
                <a:gd name="T1" fmla="*/ 4 h 4"/>
                <a:gd name="T2" fmla="*/ 2 w 37"/>
                <a:gd name="T3" fmla="*/ 4 h 4"/>
                <a:gd name="T4" fmla="*/ 0 w 37"/>
                <a:gd name="T5" fmla="*/ 2 h 4"/>
                <a:gd name="T6" fmla="*/ 2 w 37"/>
                <a:gd name="T7" fmla="*/ 0 h 4"/>
                <a:gd name="T8" fmla="*/ 35 w 37"/>
                <a:gd name="T9" fmla="*/ 0 h 4"/>
                <a:gd name="T10" fmla="*/ 37 w 37"/>
                <a:gd name="T11" fmla="*/ 2 h 4"/>
                <a:gd name="T12" fmla="*/ 35 w 37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">
                  <a:moveTo>
                    <a:pt x="35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3"/>
                    <a:pt x="36" y="4"/>
                    <a:pt x="3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D1E29D92-C3EF-A6EE-E653-977C173D9A7E}"/>
              </a:ext>
            </a:extLst>
          </p:cNvPr>
          <p:cNvSpPr txBox="1"/>
          <p:nvPr/>
        </p:nvSpPr>
        <p:spPr>
          <a:xfrm>
            <a:off x="891996" y="3839538"/>
            <a:ext cx="2649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Comparabilit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6E86535-C298-ACEE-538A-C87CFE238CA5}"/>
              </a:ext>
            </a:extLst>
          </p:cNvPr>
          <p:cNvSpPr txBox="1"/>
          <p:nvPr/>
        </p:nvSpPr>
        <p:spPr>
          <a:xfrm>
            <a:off x="903514" y="2287675"/>
            <a:ext cx="2649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Visibilit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84A68FB-A883-DCD0-7ED5-0B5A41889751}"/>
              </a:ext>
            </a:extLst>
          </p:cNvPr>
          <p:cNvSpPr txBox="1"/>
          <p:nvPr/>
        </p:nvSpPr>
        <p:spPr>
          <a:xfrm>
            <a:off x="903514" y="5445713"/>
            <a:ext cx="2649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Actionability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CB98F60-E4FF-4FFC-DA60-7C8C072CD242}"/>
              </a:ext>
            </a:extLst>
          </p:cNvPr>
          <p:cNvGrpSpPr/>
          <p:nvPr/>
        </p:nvGrpSpPr>
        <p:grpSpPr>
          <a:xfrm>
            <a:off x="3709337" y="1088571"/>
            <a:ext cx="7095495" cy="1812163"/>
            <a:chOff x="3709337" y="1088571"/>
            <a:chExt cx="7095495" cy="181216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192C895-231B-444D-8903-167F34691142}"/>
                </a:ext>
              </a:extLst>
            </p:cNvPr>
            <p:cNvSpPr txBox="1"/>
            <p:nvPr/>
          </p:nvSpPr>
          <p:spPr>
            <a:xfrm>
              <a:off x="4988232" y="1457134"/>
              <a:ext cx="5816600" cy="1443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/>
                  <a:cs typeface="Calibri"/>
                </a:rPr>
                <a:t>Gender-disaggregated MSME credit data rarely collected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/>
                  <a:cs typeface="Calibri"/>
                </a:rPr>
                <a:t>We can’t measure participation, performance, or growth patterns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/>
                  <a:ea typeface="+mn-lt"/>
                  <a:cs typeface="+mn-lt"/>
                </a:rPr>
                <a:t>Without gender tags, a bank’s MSME book may look healthy overall, but it could be systematically under-serving women.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BBC2B05-F3AC-48BA-9B09-0F155D76980E}"/>
                </a:ext>
              </a:extLst>
            </p:cNvPr>
            <p:cNvSpPr/>
            <p:nvPr/>
          </p:nvSpPr>
          <p:spPr>
            <a:xfrm>
              <a:off x="3709337" y="1689582"/>
              <a:ext cx="978700" cy="978700"/>
            </a:xfrm>
            <a:prstGeom prst="ellipse">
              <a:avLst/>
            </a:prstGeom>
            <a:gradFill flip="none" rotWithShape="1">
              <a:gsLst>
                <a:gs pos="0">
                  <a:srgbClr val="ED2D2D">
                    <a:shade val="30000"/>
                    <a:satMod val="115000"/>
                  </a:srgbClr>
                </a:gs>
                <a:gs pos="50000">
                  <a:srgbClr val="ED2D2D">
                    <a:shade val="67500"/>
                    <a:satMod val="115000"/>
                  </a:srgbClr>
                </a:gs>
                <a:gs pos="100000">
                  <a:srgbClr val="ED2D2D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859ABCE-5D93-C937-C38C-E31168B284F2}"/>
                </a:ext>
              </a:extLst>
            </p:cNvPr>
            <p:cNvSpPr txBox="1"/>
            <p:nvPr/>
          </p:nvSpPr>
          <p:spPr>
            <a:xfrm>
              <a:off x="5148943" y="1088571"/>
              <a:ext cx="5519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Women-led MSMEs are invisible in most credit data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E69674F-84CB-BFA2-C150-A20193E1BA6A}"/>
              </a:ext>
            </a:extLst>
          </p:cNvPr>
          <p:cNvGrpSpPr/>
          <p:nvPr/>
        </p:nvGrpSpPr>
        <p:grpSpPr>
          <a:xfrm>
            <a:off x="4048295" y="3090523"/>
            <a:ext cx="8263448" cy="1466890"/>
            <a:chOff x="4048295" y="3090523"/>
            <a:chExt cx="8263448" cy="146689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8F3717B-37C4-4752-83BF-5E90EAA00860}"/>
                </a:ext>
              </a:extLst>
            </p:cNvPr>
            <p:cNvSpPr/>
            <p:nvPr/>
          </p:nvSpPr>
          <p:spPr>
            <a:xfrm>
              <a:off x="4048295" y="3322973"/>
              <a:ext cx="978700" cy="978700"/>
            </a:xfrm>
            <a:prstGeom prst="ellipse">
              <a:avLst/>
            </a:prstGeom>
            <a:gradFill flip="none" rotWithShape="1">
              <a:gsLst>
                <a:gs pos="0">
                  <a:srgbClr val="F8F567">
                    <a:shade val="30000"/>
                    <a:satMod val="115000"/>
                  </a:srgbClr>
                </a:gs>
                <a:gs pos="50000">
                  <a:srgbClr val="F8F567">
                    <a:shade val="67500"/>
                    <a:satMod val="115000"/>
                  </a:srgbClr>
                </a:gs>
                <a:gs pos="100000">
                  <a:srgbClr val="F8F567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957B5CC-3822-B6F4-C182-E1C453D2058C}"/>
                </a:ext>
              </a:extLst>
            </p:cNvPr>
            <p:cNvSpPr txBox="1"/>
            <p:nvPr/>
          </p:nvSpPr>
          <p:spPr>
            <a:xfrm>
              <a:off x="5148943" y="3090523"/>
              <a:ext cx="5816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Definitions and tagging differ across providers.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4A0598-B176-E002-2937-A8569D1BA5EF}"/>
                </a:ext>
              </a:extLst>
            </p:cNvPr>
            <p:cNvSpPr txBox="1"/>
            <p:nvPr/>
          </p:nvSpPr>
          <p:spPr>
            <a:xfrm>
              <a:off x="5358361" y="3418640"/>
              <a:ext cx="6953382" cy="113877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/>
                </a:rPr>
                <a:t>MSME and gender categories vary widely across banks, MFIs, SACCOs, </a:t>
              </a:r>
              <a:r>
                <a:rPr lang="en-US" sz="1600" err="1">
                  <a:latin typeface="VAG Rounded Std Thin"/>
                </a:rPr>
                <a:t>fintechs</a:t>
              </a:r>
              <a:r>
                <a:rPr lang="en-US" sz="1600">
                  <a:latin typeface="VAG Rounded Std Thin"/>
                </a:rPr>
                <a:t>.(Women owned, women led, women operated)</a:t>
              </a:r>
              <a:endParaRPr lang="en-US" sz="1600">
                <a:latin typeface="VAG Rounded Std Thin" panose="020F0402020204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/>
                </a:rPr>
                <a:t>Hard to set sector targets or track progress</a:t>
              </a:r>
              <a:r>
                <a:rPr lang="en-US">
                  <a:latin typeface="VAG Rounded Std Thin"/>
                </a:rPr>
                <a:t>.</a:t>
              </a:r>
              <a:r>
                <a:rPr lang="en-US">
                  <a:latin typeface="VAG Rounded Std Thin"/>
                  <a:ea typeface="+mn-lt"/>
                  <a:cs typeface="+mn-lt"/>
                </a:rPr>
                <a:t> Banks can’t compare their performance to peers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D3D9445-5B0E-7F27-2B34-55CBD666C393}"/>
              </a:ext>
            </a:extLst>
          </p:cNvPr>
          <p:cNvGrpSpPr/>
          <p:nvPr/>
        </p:nvGrpSpPr>
        <p:grpSpPr>
          <a:xfrm>
            <a:off x="4800477" y="5190217"/>
            <a:ext cx="453035" cy="455551"/>
            <a:chOff x="2025650" y="2516188"/>
            <a:chExt cx="285750" cy="287337"/>
          </a:xfrm>
          <a:solidFill>
            <a:schemeClr val="bg1"/>
          </a:solidFill>
        </p:grpSpPr>
        <p:sp>
          <p:nvSpPr>
            <p:cNvPr id="53" name="Freeform 1153">
              <a:extLst>
                <a:ext uri="{FF2B5EF4-FFF2-40B4-BE49-F238E27FC236}">
                  <a16:creationId xmlns:a16="http://schemas.microsoft.com/office/drawing/2014/main" id="{2BB5AA00-FA6B-85F5-0171-9F5008EEE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4" name="Freeform 1154">
              <a:extLst>
                <a:ext uri="{FF2B5EF4-FFF2-40B4-BE49-F238E27FC236}">
                  <a16:creationId xmlns:a16="http://schemas.microsoft.com/office/drawing/2014/main" id="{B6BAA369-21A6-C913-DE87-FB397E491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5" name="Freeform 1155">
              <a:extLst>
                <a:ext uri="{FF2B5EF4-FFF2-40B4-BE49-F238E27FC236}">
                  <a16:creationId xmlns:a16="http://schemas.microsoft.com/office/drawing/2014/main" id="{8FE9B47B-E971-5FB2-6A10-5762A6C6A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6" name="Freeform 1156">
              <a:extLst>
                <a:ext uri="{FF2B5EF4-FFF2-40B4-BE49-F238E27FC236}">
                  <a16:creationId xmlns:a16="http://schemas.microsoft.com/office/drawing/2014/main" id="{35A0346C-106F-A483-1BBD-C177B7A38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7" name="Freeform 1157">
              <a:extLst>
                <a:ext uri="{FF2B5EF4-FFF2-40B4-BE49-F238E27FC236}">
                  <a16:creationId xmlns:a16="http://schemas.microsoft.com/office/drawing/2014/main" id="{2C1053B8-3008-3A59-1E14-E8179BC1F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8" name="Freeform 1158">
              <a:extLst>
                <a:ext uri="{FF2B5EF4-FFF2-40B4-BE49-F238E27FC236}">
                  <a16:creationId xmlns:a16="http://schemas.microsoft.com/office/drawing/2014/main" id="{1C194DB1-4948-70F7-1B4A-A773706C7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59" name="Freeform 1159">
              <a:extLst>
                <a:ext uri="{FF2B5EF4-FFF2-40B4-BE49-F238E27FC236}">
                  <a16:creationId xmlns:a16="http://schemas.microsoft.com/office/drawing/2014/main" id="{C5E05678-6E09-FC78-5C00-90E3BCA8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60" name="Freeform 1160">
              <a:extLst>
                <a:ext uri="{FF2B5EF4-FFF2-40B4-BE49-F238E27FC236}">
                  <a16:creationId xmlns:a16="http://schemas.microsoft.com/office/drawing/2014/main" id="{030D66D6-5800-E9F0-E698-AA43E15C1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62418F4-B131-A6B8-FEBB-EC77FF5199DD}"/>
              </a:ext>
            </a:extLst>
          </p:cNvPr>
          <p:cNvGrpSpPr/>
          <p:nvPr/>
        </p:nvGrpSpPr>
        <p:grpSpPr>
          <a:xfrm>
            <a:off x="4509602" y="4629019"/>
            <a:ext cx="7508227" cy="1803513"/>
            <a:chOff x="4509602" y="4629019"/>
            <a:chExt cx="7508227" cy="180351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36A0BEC-10B4-4BFD-838D-9F130661C899}"/>
                </a:ext>
              </a:extLst>
            </p:cNvPr>
            <p:cNvSpPr txBox="1"/>
            <p:nvPr/>
          </p:nvSpPr>
          <p:spPr>
            <a:xfrm>
              <a:off x="5488302" y="4679365"/>
              <a:ext cx="5816600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b="1" i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Insights don’t reach decision-making.</a:t>
              </a:r>
              <a:endParaRPr lang="en-US" b="1" i="1">
                <a:solidFill>
                  <a:srgbClr val="F69320"/>
                </a:solidFill>
                <a:latin typeface="VAG Rounded Std Thin" panose="020F040202020402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A1CA451-DA07-4F47-8B90-0F372353B0A2}"/>
                </a:ext>
              </a:extLst>
            </p:cNvPr>
            <p:cNvCxnSpPr/>
            <p:nvPr/>
          </p:nvCxnSpPr>
          <p:spPr>
            <a:xfrm>
              <a:off x="5402416" y="4629019"/>
              <a:ext cx="5816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979AEB7-E213-4232-BF18-E379F84511A6}"/>
                </a:ext>
              </a:extLst>
            </p:cNvPr>
            <p:cNvSpPr/>
            <p:nvPr/>
          </p:nvSpPr>
          <p:spPr>
            <a:xfrm>
              <a:off x="4509602" y="4956364"/>
              <a:ext cx="978700" cy="9787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1788570-1960-5447-D5E3-C9CE58D7E13A}"/>
                </a:ext>
              </a:extLst>
            </p:cNvPr>
            <p:cNvSpPr txBox="1"/>
            <p:nvPr/>
          </p:nvSpPr>
          <p:spPr>
            <a:xfrm>
              <a:off x="5548707" y="5109093"/>
              <a:ext cx="64691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 panose="020F0402020204020204" pitchFamily="34" charset="0"/>
                </a:rPr>
                <a:t>Data often sits in reports , not linked to underwriting, product design, or pricing.-</a:t>
              </a:r>
              <a:r>
                <a:rPr lang="en-US" sz="1600" b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Lending Decis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 panose="020F0402020204020204" pitchFamily="34" charset="0"/>
                </a:rPr>
                <a:t>Lending decisions still based on legacy assumptions, not real performance data- </a:t>
              </a:r>
              <a:r>
                <a:rPr lang="en-US" sz="1600" b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Product Misfi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latin typeface="VAG Rounded Std Thin" panose="020F0402020204020204" pitchFamily="34" charset="0"/>
                </a:rPr>
                <a:t>Missed opportunity for tailored, profitable growth. – </a:t>
              </a:r>
              <a:r>
                <a:rPr lang="en-US" sz="1600" b="1">
                  <a:solidFill>
                    <a:srgbClr val="F69320"/>
                  </a:solidFill>
                  <a:latin typeface="VAG Rounded Std Thin" panose="020F0402020204020204" pitchFamily="34" charset="0"/>
                </a:rPr>
                <a:t>5-15% Growth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D26BF94-1311-2F20-B0F1-6B8BD6C80040}"/>
              </a:ext>
            </a:extLst>
          </p:cNvPr>
          <p:cNvGrpSpPr/>
          <p:nvPr/>
        </p:nvGrpSpPr>
        <p:grpSpPr>
          <a:xfrm>
            <a:off x="4017712" y="1997163"/>
            <a:ext cx="361950" cy="363538"/>
            <a:chOff x="3390900" y="2884488"/>
            <a:chExt cx="361950" cy="363538"/>
          </a:xfrm>
          <a:solidFill>
            <a:schemeClr val="bg1"/>
          </a:solidFill>
        </p:grpSpPr>
        <p:sp>
          <p:nvSpPr>
            <p:cNvPr id="68" name="Freeform 1700">
              <a:extLst>
                <a:ext uri="{FF2B5EF4-FFF2-40B4-BE49-F238E27FC236}">
                  <a16:creationId xmlns:a16="http://schemas.microsoft.com/office/drawing/2014/main" id="{2C6FF465-E227-2219-1083-CA2EA8DD5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2884488"/>
              <a:ext cx="361950" cy="363538"/>
            </a:xfrm>
            <a:custGeom>
              <a:avLst/>
              <a:gdLst>
                <a:gd name="T0" fmla="*/ 49 w 96"/>
                <a:gd name="T1" fmla="*/ 97 h 97"/>
                <a:gd name="T2" fmla="*/ 47 w 96"/>
                <a:gd name="T3" fmla="*/ 95 h 97"/>
                <a:gd name="T4" fmla="*/ 49 w 96"/>
                <a:gd name="T5" fmla="*/ 93 h 97"/>
                <a:gd name="T6" fmla="*/ 75 w 96"/>
                <a:gd name="T7" fmla="*/ 83 h 97"/>
                <a:gd name="T8" fmla="*/ 78 w 96"/>
                <a:gd name="T9" fmla="*/ 84 h 97"/>
                <a:gd name="T10" fmla="*/ 78 w 96"/>
                <a:gd name="T11" fmla="*/ 87 h 97"/>
                <a:gd name="T12" fmla="*/ 49 w 96"/>
                <a:gd name="T13" fmla="*/ 97 h 97"/>
                <a:gd name="T14" fmla="*/ 49 w 96"/>
                <a:gd name="T15" fmla="*/ 97 h 97"/>
                <a:gd name="T16" fmla="*/ 38 w 96"/>
                <a:gd name="T17" fmla="*/ 96 h 97"/>
                <a:gd name="T18" fmla="*/ 37 w 96"/>
                <a:gd name="T19" fmla="*/ 96 h 97"/>
                <a:gd name="T20" fmla="*/ 11 w 96"/>
                <a:gd name="T21" fmla="*/ 80 h 97"/>
                <a:gd name="T22" fmla="*/ 11 w 96"/>
                <a:gd name="T23" fmla="*/ 77 h 97"/>
                <a:gd name="T24" fmla="*/ 14 w 96"/>
                <a:gd name="T25" fmla="*/ 77 h 97"/>
                <a:gd name="T26" fmla="*/ 38 w 96"/>
                <a:gd name="T27" fmla="*/ 92 h 97"/>
                <a:gd name="T28" fmla="*/ 40 w 96"/>
                <a:gd name="T29" fmla="*/ 94 h 97"/>
                <a:gd name="T30" fmla="*/ 38 w 96"/>
                <a:gd name="T31" fmla="*/ 96 h 97"/>
                <a:gd name="T32" fmla="*/ 85 w 96"/>
                <a:gd name="T33" fmla="*/ 79 h 97"/>
                <a:gd name="T34" fmla="*/ 83 w 96"/>
                <a:gd name="T35" fmla="*/ 79 h 97"/>
                <a:gd name="T36" fmla="*/ 83 w 96"/>
                <a:gd name="T37" fmla="*/ 76 h 97"/>
                <a:gd name="T38" fmla="*/ 92 w 96"/>
                <a:gd name="T39" fmla="*/ 49 h 97"/>
                <a:gd name="T40" fmla="*/ 94 w 96"/>
                <a:gd name="T41" fmla="*/ 47 h 97"/>
                <a:gd name="T42" fmla="*/ 96 w 96"/>
                <a:gd name="T43" fmla="*/ 49 h 97"/>
                <a:gd name="T44" fmla="*/ 96 w 96"/>
                <a:gd name="T45" fmla="*/ 49 h 97"/>
                <a:gd name="T46" fmla="*/ 86 w 96"/>
                <a:gd name="T47" fmla="*/ 78 h 97"/>
                <a:gd name="T48" fmla="*/ 85 w 96"/>
                <a:gd name="T49" fmla="*/ 79 h 97"/>
                <a:gd name="T50" fmla="*/ 7 w 96"/>
                <a:gd name="T51" fmla="*/ 71 h 97"/>
                <a:gd name="T52" fmla="*/ 5 w 96"/>
                <a:gd name="T53" fmla="*/ 70 h 97"/>
                <a:gd name="T54" fmla="*/ 0 w 96"/>
                <a:gd name="T55" fmla="*/ 49 h 97"/>
                <a:gd name="T56" fmla="*/ 1 w 96"/>
                <a:gd name="T57" fmla="*/ 39 h 97"/>
                <a:gd name="T58" fmla="*/ 3 w 96"/>
                <a:gd name="T59" fmla="*/ 38 h 97"/>
                <a:gd name="T60" fmla="*/ 5 w 96"/>
                <a:gd name="T61" fmla="*/ 40 h 97"/>
                <a:gd name="T62" fmla="*/ 4 w 96"/>
                <a:gd name="T63" fmla="*/ 49 h 97"/>
                <a:gd name="T64" fmla="*/ 8 w 96"/>
                <a:gd name="T65" fmla="*/ 68 h 97"/>
                <a:gd name="T66" fmla="*/ 7 w 96"/>
                <a:gd name="T67" fmla="*/ 71 h 97"/>
                <a:gd name="T68" fmla="*/ 7 w 96"/>
                <a:gd name="T69" fmla="*/ 71 h 97"/>
                <a:gd name="T70" fmla="*/ 93 w 96"/>
                <a:gd name="T71" fmla="*/ 40 h 97"/>
                <a:gd name="T72" fmla="*/ 91 w 96"/>
                <a:gd name="T73" fmla="*/ 38 h 97"/>
                <a:gd name="T74" fmla="*/ 75 w 96"/>
                <a:gd name="T75" fmla="*/ 14 h 97"/>
                <a:gd name="T76" fmla="*/ 75 w 96"/>
                <a:gd name="T77" fmla="*/ 12 h 97"/>
                <a:gd name="T78" fmla="*/ 78 w 96"/>
                <a:gd name="T79" fmla="*/ 11 h 97"/>
                <a:gd name="T80" fmla="*/ 95 w 96"/>
                <a:gd name="T81" fmla="*/ 37 h 97"/>
                <a:gd name="T82" fmla="*/ 93 w 96"/>
                <a:gd name="T83" fmla="*/ 40 h 97"/>
                <a:gd name="T84" fmla="*/ 93 w 96"/>
                <a:gd name="T85" fmla="*/ 40 h 97"/>
                <a:gd name="T86" fmla="*/ 6 w 96"/>
                <a:gd name="T87" fmla="*/ 31 h 97"/>
                <a:gd name="T88" fmla="*/ 6 w 96"/>
                <a:gd name="T89" fmla="*/ 31 h 97"/>
                <a:gd name="T90" fmla="*/ 5 w 96"/>
                <a:gd name="T91" fmla="*/ 28 h 97"/>
                <a:gd name="T92" fmla="*/ 26 w 96"/>
                <a:gd name="T93" fmla="*/ 6 h 97"/>
                <a:gd name="T94" fmla="*/ 29 w 96"/>
                <a:gd name="T95" fmla="*/ 7 h 97"/>
                <a:gd name="T96" fmla="*/ 28 w 96"/>
                <a:gd name="T97" fmla="*/ 10 h 97"/>
                <a:gd name="T98" fmla="*/ 8 w 96"/>
                <a:gd name="T99" fmla="*/ 30 h 97"/>
                <a:gd name="T100" fmla="*/ 6 w 96"/>
                <a:gd name="T101" fmla="*/ 31 h 97"/>
                <a:gd name="T102" fmla="*/ 67 w 96"/>
                <a:gd name="T103" fmla="*/ 9 h 97"/>
                <a:gd name="T104" fmla="*/ 66 w 96"/>
                <a:gd name="T105" fmla="*/ 9 h 97"/>
                <a:gd name="T106" fmla="*/ 38 w 96"/>
                <a:gd name="T107" fmla="*/ 6 h 97"/>
                <a:gd name="T108" fmla="*/ 36 w 96"/>
                <a:gd name="T109" fmla="*/ 5 h 97"/>
                <a:gd name="T110" fmla="*/ 37 w 96"/>
                <a:gd name="T111" fmla="*/ 2 h 97"/>
                <a:gd name="T112" fmla="*/ 68 w 96"/>
                <a:gd name="T113" fmla="*/ 5 h 97"/>
                <a:gd name="T114" fmla="*/ 69 w 96"/>
                <a:gd name="T115" fmla="*/ 8 h 97"/>
                <a:gd name="T116" fmla="*/ 67 w 96"/>
                <a:gd name="T117" fmla="*/ 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97">
                  <a:moveTo>
                    <a:pt x="49" y="97"/>
                  </a:moveTo>
                  <a:cubicBezTo>
                    <a:pt x="48" y="97"/>
                    <a:pt x="47" y="96"/>
                    <a:pt x="47" y="95"/>
                  </a:cubicBezTo>
                  <a:cubicBezTo>
                    <a:pt x="47" y="94"/>
                    <a:pt x="48" y="93"/>
                    <a:pt x="49" y="93"/>
                  </a:cubicBezTo>
                  <a:cubicBezTo>
                    <a:pt x="59" y="93"/>
                    <a:pt x="68" y="89"/>
                    <a:pt x="75" y="83"/>
                  </a:cubicBezTo>
                  <a:cubicBezTo>
                    <a:pt x="76" y="83"/>
                    <a:pt x="78" y="83"/>
                    <a:pt x="78" y="84"/>
                  </a:cubicBezTo>
                  <a:cubicBezTo>
                    <a:pt x="79" y="85"/>
                    <a:pt x="79" y="86"/>
                    <a:pt x="78" y="87"/>
                  </a:cubicBezTo>
                  <a:cubicBezTo>
                    <a:pt x="70" y="93"/>
                    <a:pt x="60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lose/>
                  <a:moveTo>
                    <a:pt x="38" y="96"/>
                  </a:moveTo>
                  <a:cubicBezTo>
                    <a:pt x="38" y="96"/>
                    <a:pt x="38" y="96"/>
                    <a:pt x="37" y="96"/>
                  </a:cubicBezTo>
                  <a:cubicBezTo>
                    <a:pt x="27" y="94"/>
                    <a:pt x="18" y="88"/>
                    <a:pt x="11" y="80"/>
                  </a:cubicBezTo>
                  <a:cubicBezTo>
                    <a:pt x="10" y="79"/>
                    <a:pt x="11" y="78"/>
                    <a:pt x="11" y="77"/>
                  </a:cubicBezTo>
                  <a:cubicBezTo>
                    <a:pt x="12" y="76"/>
                    <a:pt x="13" y="76"/>
                    <a:pt x="14" y="77"/>
                  </a:cubicBezTo>
                  <a:cubicBezTo>
                    <a:pt x="20" y="85"/>
                    <a:pt x="29" y="90"/>
                    <a:pt x="38" y="92"/>
                  </a:cubicBezTo>
                  <a:cubicBezTo>
                    <a:pt x="39" y="92"/>
                    <a:pt x="40" y="93"/>
                    <a:pt x="40" y="94"/>
                  </a:cubicBezTo>
                  <a:cubicBezTo>
                    <a:pt x="40" y="95"/>
                    <a:pt x="39" y="96"/>
                    <a:pt x="38" y="96"/>
                  </a:cubicBezTo>
                  <a:close/>
                  <a:moveTo>
                    <a:pt x="85" y="79"/>
                  </a:moveTo>
                  <a:cubicBezTo>
                    <a:pt x="84" y="79"/>
                    <a:pt x="84" y="79"/>
                    <a:pt x="83" y="79"/>
                  </a:cubicBezTo>
                  <a:cubicBezTo>
                    <a:pt x="82" y="78"/>
                    <a:pt x="82" y="77"/>
                    <a:pt x="83" y="76"/>
                  </a:cubicBezTo>
                  <a:cubicBezTo>
                    <a:pt x="89" y="68"/>
                    <a:pt x="92" y="59"/>
                    <a:pt x="92" y="49"/>
                  </a:cubicBezTo>
                  <a:cubicBezTo>
                    <a:pt x="92" y="48"/>
                    <a:pt x="93" y="47"/>
                    <a:pt x="94" y="47"/>
                  </a:cubicBezTo>
                  <a:cubicBezTo>
                    <a:pt x="95" y="47"/>
                    <a:pt x="96" y="48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60"/>
                    <a:pt x="93" y="70"/>
                    <a:pt x="86" y="78"/>
                  </a:cubicBezTo>
                  <a:cubicBezTo>
                    <a:pt x="86" y="79"/>
                    <a:pt x="85" y="79"/>
                    <a:pt x="85" y="79"/>
                  </a:cubicBezTo>
                  <a:close/>
                  <a:moveTo>
                    <a:pt x="7" y="71"/>
                  </a:moveTo>
                  <a:cubicBezTo>
                    <a:pt x="6" y="71"/>
                    <a:pt x="5" y="71"/>
                    <a:pt x="5" y="70"/>
                  </a:cubicBezTo>
                  <a:cubicBezTo>
                    <a:pt x="2" y="63"/>
                    <a:pt x="0" y="56"/>
                    <a:pt x="0" y="49"/>
                  </a:cubicBezTo>
                  <a:cubicBezTo>
                    <a:pt x="0" y="46"/>
                    <a:pt x="0" y="43"/>
                    <a:pt x="1" y="39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4" y="38"/>
                    <a:pt x="5" y="39"/>
                    <a:pt x="5" y="40"/>
                  </a:cubicBezTo>
                  <a:cubicBezTo>
                    <a:pt x="4" y="43"/>
                    <a:pt x="4" y="46"/>
                    <a:pt x="4" y="49"/>
                  </a:cubicBezTo>
                  <a:cubicBezTo>
                    <a:pt x="4" y="56"/>
                    <a:pt x="5" y="62"/>
                    <a:pt x="8" y="68"/>
                  </a:cubicBezTo>
                  <a:cubicBezTo>
                    <a:pt x="9" y="69"/>
                    <a:pt x="8" y="70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lose/>
                  <a:moveTo>
                    <a:pt x="93" y="40"/>
                  </a:moveTo>
                  <a:cubicBezTo>
                    <a:pt x="92" y="40"/>
                    <a:pt x="91" y="39"/>
                    <a:pt x="91" y="38"/>
                  </a:cubicBezTo>
                  <a:cubicBezTo>
                    <a:pt x="88" y="29"/>
                    <a:pt x="83" y="20"/>
                    <a:pt x="75" y="14"/>
                  </a:cubicBezTo>
                  <a:cubicBezTo>
                    <a:pt x="74" y="14"/>
                    <a:pt x="74" y="13"/>
                    <a:pt x="75" y="12"/>
                  </a:cubicBezTo>
                  <a:cubicBezTo>
                    <a:pt x="76" y="11"/>
                    <a:pt x="77" y="11"/>
                    <a:pt x="78" y="11"/>
                  </a:cubicBezTo>
                  <a:cubicBezTo>
                    <a:pt x="86" y="18"/>
                    <a:pt x="92" y="27"/>
                    <a:pt x="95" y="37"/>
                  </a:cubicBezTo>
                  <a:cubicBezTo>
                    <a:pt x="95" y="38"/>
                    <a:pt x="94" y="39"/>
                    <a:pt x="93" y="40"/>
                  </a:cubicBezTo>
                  <a:cubicBezTo>
                    <a:pt x="93" y="40"/>
                    <a:pt x="93" y="40"/>
                    <a:pt x="93" y="40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5" y="30"/>
                    <a:pt x="4" y="29"/>
                    <a:pt x="5" y="28"/>
                  </a:cubicBezTo>
                  <a:cubicBezTo>
                    <a:pt x="9" y="19"/>
                    <a:pt x="17" y="11"/>
                    <a:pt x="26" y="6"/>
                  </a:cubicBezTo>
                  <a:cubicBezTo>
                    <a:pt x="27" y="6"/>
                    <a:pt x="28" y="6"/>
                    <a:pt x="29" y="7"/>
                  </a:cubicBezTo>
                  <a:cubicBezTo>
                    <a:pt x="29" y="8"/>
                    <a:pt x="29" y="9"/>
                    <a:pt x="28" y="10"/>
                  </a:cubicBezTo>
                  <a:cubicBezTo>
                    <a:pt x="19" y="14"/>
                    <a:pt x="12" y="21"/>
                    <a:pt x="8" y="30"/>
                  </a:cubicBezTo>
                  <a:cubicBezTo>
                    <a:pt x="8" y="31"/>
                    <a:pt x="7" y="31"/>
                    <a:pt x="6" y="31"/>
                  </a:cubicBezTo>
                  <a:close/>
                  <a:moveTo>
                    <a:pt x="67" y="9"/>
                  </a:moveTo>
                  <a:cubicBezTo>
                    <a:pt x="67" y="9"/>
                    <a:pt x="66" y="9"/>
                    <a:pt x="66" y="9"/>
                  </a:cubicBezTo>
                  <a:cubicBezTo>
                    <a:pt x="57" y="5"/>
                    <a:pt x="47" y="4"/>
                    <a:pt x="38" y="6"/>
                  </a:cubicBezTo>
                  <a:cubicBezTo>
                    <a:pt x="37" y="6"/>
                    <a:pt x="36" y="6"/>
                    <a:pt x="36" y="5"/>
                  </a:cubicBezTo>
                  <a:cubicBezTo>
                    <a:pt x="35" y="4"/>
                    <a:pt x="36" y="2"/>
                    <a:pt x="37" y="2"/>
                  </a:cubicBezTo>
                  <a:cubicBezTo>
                    <a:pt x="47" y="0"/>
                    <a:pt x="58" y="1"/>
                    <a:pt x="68" y="5"/>
                  </a:cubicBezTo>
                  <a:cubicBezTo>
                    <a:pt x="69" y="6"/>
                    <a:pt x="69" y="7"/>
                    <a:pt x="69" y="8"/>
                  </a:cubicBezTo>
                  <a:cubicBezTo>
                    <a:pt x="68" y="9"/>
                    <a:pt x="68" y="9"/>
                    <a:pt x="6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1701">
              <a:extLst>
                <a:ext uri="{FF2B5EF4-FFF2-40B4-BE49-F238E27FC236}">
                  <a16:creationId xmlns:a16="http://schemas.microsoft.com/office/drawing/2014/main" id="{4B7580F8-76AA-F95C-2D06-77B4FCEC9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2994025"/>
              <a:ext cx="254000" cy="149225"/>
            </a:xfrm>
            <a:custGeom>
              <a:avLst/>
              <a:gdLst>
                <a:gd name="T0" fmla="*/ 34 w 68"/>
                <a:gd name="T1" fmla="*/ 40 h 40"/>
                <a:gd name="T2" fmla="*/ 0 w 68"/>
                <a:gd name="T3" fmla="*/ 21 h 40"/>
                <a:gd name="T4" fmla="*/ 0 w 68"/>
                <a:gd name="T5" fmla="*/ 19 h 40"/>
                <a:gd name="T6" fmla="*/ 34 w 68"/>
                <a:gd name="T7" fmla="*/ 0 h 40"/>
                <a:gd name="T8" fmla="*/ 67 w 68"/>
                <a:gd name="T9" fmla="*/ 19 h 40"/>
                <a:gd name="T10" fmla="*/ 67 w 68"/>
                <a:gd name="T11" fmla="*/ 21 h 40"/>
                <a:gd name="T12" fmla="*/ 34 w 68"/>
                <a:gd name="T13" fmla="*/ 40 h 40"/>
                <a:gd name="T14" fmla="*/ 5 w 68"/>
                <a:gd name="T15" fmla="*/ 20 h 40"/>
                <a:gd name="T16" fmla="*/ 34 w 68"/>
                <a:gd name="T17" fmla="*/ 36 h 40"/>
                <a:gd name="T18" fmla="*/ 63 w 68"/>
                <a:gd name="T19" fmla="*/ 20 h 40"/>
                <a:gd name="T20" fmla="*/ 34 w 68"/>
                <a:gd name="T21" fmla="*/ 4 h 40"/>
                <a:gd name="T22" fmla="*/ 5 w 68"/>
                <a:gd name="T2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40">
                  <a:moveTo>
                    <a:pt x="34" y="40"/>
                  </a:moveTo>
                  <a:cubicBezTo>
                    <a:pt x="15" y="40"/>
                    <a:pt x="1" y="22"/>
                    <a:pt x="0" y="21"/>
                  </a:cubicBezTo>
                  <a:cubicBezTo>
                    <a:pt x="0" y="21"/>
                    <a:pt x="0" y="19"/>
                    <a:pt x="0" y="19"/>
                  </a:cubicBezTo>
                  <a:cubicBezTo>
                    <a:pt x="1" y="18"/>
                    <a:pt x="15" y="0"/>
                    <a:pt x="34" y="0"/>
                  </a:cubicBezTo>
                  <a:cubicBezTo>
                    <a:pt x="52" y="0"/>
                    <a:pt x="67" y="18"/>
                    <a:pt x="67" y="19"/>
                  </a:cubicBezTo>
                  <a:cubicBezTo>
                    <a:pt x="68" y="19"/>
                    <a:pt x="68" y="21"/>
                    <a:pt x="67" y="21"/>
                  </a:cubicBezTo>
                  <a:cubicBezTo>
                    <a:pt x="67" y="22"/>
                    <a:pt x="52" y="40"/>
                    <a:pt x="34" y="40"/>
                  </a:cubicBezTo>
                  <a:close/>
                  <a:moveTo>
                    <a:pt x="5" y="20"/>
                  </a:moveTo>
                  <a:cubicBezTo>
                    <a:pt x="8" y="24"/>
                    <a:pt x="20" y="36"/>
                    <a:pt x="34" y="36"/>
                  </a:cubicBezTo>
                  <a:cubicBezTo>
                    <a:pt x="48" y="36"/>
                    <a:pt x="60" y="24"/>
                    <a:pt x="63" y="20"/>
                  </a:cubicBezTo>
                  <a:cubicBezTo>
                    <a:pt x="60" y="16"/>
                    <a:pt x="48" y="4"/>
                    <a:pt x="34" y="4"/>
                  </a:cubicBezTo>
                  <a:cubicBezTo>
                    <a:pt x="20" y="4"/>
                    <a:pt x="8" y="16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1702">
              <a:extLst>
                <a:ext uri="{FF2B5EF4-FFF2-40B4-BE49-F238E27FC236}">
                  <a16:creationId xmlns:a16="http://schemas.microsoft.com/office/drawing/2014/main" id="{9E8A259C-70C4-1416-B8FE-A30D93D0D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7425" y="3022600"/>
              <a:ext cx="88900" cy="9048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  <a:moveTo>
                    <a:pt x="12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BDD7475-EE64-1A02-833C-F6EDC0930BBC}"/>
              </a:ext>
            </a:extLst>
          </p:cNvPr>
          <p:cNvGrpSpPr/>
          <p:nvPr/>
        </p:nvGrpSpPr>
        <p:grpSpPr>
          <a:xfrm>
            <a:off x="4368339" y="3720476"/>
            <a:ext cx="354012" cy="285750"/>
            <a:chOff x="4116388" y="2211388"/>
            <a:chExt cx="354012" cy="285750"/>
          </a:xfrm>
          <a:solidFill>
            <a:schemeClr val="bg1"/>
          </a:solidFill>
        </p:grpSpPr>
        <p:sp>
          <p:nvSpPr>
            <p:cNvPr id="74" name="Freeform 1192">
              <a:extLst>
                <a:ext uri="{FF2B5EF4-FFF2-40B4-BE49-F238E27FC236}">
                  <a16:creationId xmlns:a16="http://schemas.microsoft.com/office/drawing/2014/main" id="{084CA940-AFE3-9B80-8636-7F351C1D5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2257425"/>
              <a:ext cx="14288" cy="239713"/>
            </a:xfrm>
            <a:custGeom>
              <a:avLst/>
              <a:gdLst>
                <a:gd name="T0" fmla="*/ 2 w 4"/>
                <a:gd name="T1" fmla="*/ 64 h 64"/>
                <a:gd name="T2" fmla="*/ 0 w 4"/>
                <a:gd name="T3" fmla="*/ 62 h 64"/>
                <a:gd name="T4" fmla="*/ 0 w 4"/>
                <a:gd name="T5" fmla="*/ 2 h 64"/>
                <a:gd name="T6" fmla="*/ 2 w 4"/>
                <a:gd name="T7" fmla="*/ 0 h 64"/>
                <a:gd name="T8" fmla="*/ 4 w 4"/>
                <a:gd name="T9" fmla="*/ 2 h 64"/>
                <a:gd name="T10" fmla="*/ 4 w 4"/>
                <a:gd name="T11" fmla="*/ 62 h 64"/>
                <a:gd name="T12" fmla="*/ 2 w 4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4">
                  <a:moveTo>
                    <a:pt x="2" y="64"/>
                  </a:move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3"/>
                    <a:pt x="3" y="64"/>
                    <a:pt x="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1193">
              <a:extLst>
                <a:ext uri="{FF2B5EF4-FFF2-40B4-BE49-F238E27FC236}">
                  <a16:creationId xmlns:a16="http://schemas.microsoft.com/office/drawing/2014/main" id="{E5D0525A-CE7A-DDEA-8D94-F9B8D5EFC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275" y="2482850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1194">
              <a:extLst>
                <a:ext uri="{FF2B5EF4-FFF2-40B4-BE49-F238E27FC236}">
                  <a16:creationId xmlns:a16="http://schemas.microsoft.com/office/drawing/2014/main" id="{25C193AA-AF30-3CA2-19DD-6C588CFB2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388" y="2227263"/>
              <a:ext cx="120650" cy="134938"/>
            </a:xfrm>
            <a:custGeom>
              <a:avLst/>
              <a:gdLst>
                <a:gd name="T0" fmla="*/ 2 w 32"/>
                <a:gd name="T1" fmla="*/ 36 h 36"/>
                <a:gd name="T2" fmla="*/ 1 w 32"/>
                <a:gd name="T3" fmla="*/ 36 h 36"/>
                <a:gd name="T4" fmla="*/ 0 w 32"/>
                <a:gd name="T5" fmla="*/ 33 h 36"/>
                <a:gd name="T6" fmla="*/ 14 w 32"/>
                <a:gd name="T7" fmla="*/ 1 h 36"/>
                <a:gd name="T8" fmla="*/ 16 w 32"/>
                <a:gd name="T9" fmla="*/ 0 h 36"/>
                <a:gd name="T10" fmla="*/ 16 w 32"/>
                <a:gd name="T11" fmla="*/ 0 h 36"/>
                <a:gd name="T12" fmla="*/ 18 w 32"/>
                <a:gd name="T13" fmla="*/ 1 h 36"/>
                <a:gd name="T14" fmla="*/ 31 w 32"/>
                <a:gd name="T15" fmla="*/ 33 h 36"/>
                <a:gd name="T16" fmla="*/ 30 w 32"/>
                <a:gd name="T17" fmla="*/ 36 h 36"/>
                <a:gd name="T18" fmla="*/ 28 w 32"/>
                <a:gd name="T19" fmla="*/ 35 h 36"/>
                <a:gd name="T20" fmla="*/ 16 w 32"/>
                <a:gd name="T21" fmla="*/ 7 h 36"/>
                <a:gd name="T22" fmla="*/ 4 w 32"/>
                <a:gd name="T23" fmla="*/ 35 h 36"/>
                <a:gd name="T24" fmla="*/ 2 w 3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6">
                  <a:moveTo>
                    <a:pt x="2" y="36"/>
                  </a:moveTo>
                  <a:cubicBezTo>
                    <a:pt x="2" y="36"/>
                    <a:pt x="2" y="36"/>
                    <a:pt x="1" y="36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1"/>
                    <a:pt x="18" y="1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4"/>
                    <a:pt x="31" y="35"/>
                    <a:pt x="30" y="36"/>
                  </a:cubicBezTo>
                  <a:cubicBezTo>
                    <a:pt x="29" y="36"/>
                    <a:pt x="28" y="36"/>
                    <a:pt x="28" y="35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6"/>
                    <a:pt x="3" y="36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1195">
              <a:extLst>
                <a:ext uri="{FF2B5EF4-FFF2-40B4-BE49-F238E27FC236}">
                  <a16:creationId xmlns:a16="http://schemas.microsoft.com/office/drawing/2014/main" id="{E8CDBDD2-8716-03BF-7A23-DC252C4C7F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6088" y="2211388"/>
              <a:ext cx="58738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196">
              <a:extLst>
                <a:ext uri="{FF2B5EF4-FFF2-40B4-BE49-F238E27FC236}">
                  <a16:creationId xmlns:a16="http://schemas.microsoft.com/office/drawing/2014/main" id="{68417330-2B45-6312-7BB8-8AE177998A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2346325"/>
              <a:ext cx="115888" cy="71438"/>
            </a:xfrm>
            <a:custGeom>
              <a:avLst/>
              <a:gdLst>
                <a:gd name="T0" fmla="*/ 16 w 31"/>
                <a:gd name="T1" fmla="*/ 19 h 19"/>
                <a:gd name="T2" fmla="*/ 0 w 31"/>
                <a:gd name="T3" fmla="*/ 2 h 19"/>
                <a:gd name="T4" fmla="*/ 2 w 31"/>
                <a:gd name="T5" fmla="*/ 0 h 19"/>
                <a:gd name="T6" fmla="*/ 29 w 31"/>
                <a:gd name="T7" fmla="*/ 0 h 19"/>
                <a:gd name="T8" fmla="*/ 31 w 31"/>
                <a:gd name="T9" fmla="*/ 2 h 19"/>
                <a:gd name="T10" fmla="*/ 16 w 31"/>
                <a:gd name="T11" fmla="*/ 19 h 19"/>
                <a:gd name="T12" fmla="*/ 4 w 31"/>
                <a:gd name="T13" fmla="*/ 4 h 19"/>
                <a:gd name="T14" fmla="*/ 16 w 31"/>
                <a:gd name="T15" fmla="*/ 15 h 19"/>
                <a:gd name="T16" fmla="*/ 27 w 31"/>
                <a:gd name="T17" fmla="*/ 4 h 19"/>
                <a:gd name="T18" fmla="*/ 4 w 31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9">
                  <a:moveTo>
                    <a:pt x="16" y="19"/>
                  </a:moveTo>
                  <a:cubicBezTo>
                    <a:pt x="7" y="19"/>
                    <a:pt x="0" y="11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1" y="1"/>
                    <a:pt x="31" y="2"/>
                  </a:cubicBezTo>
                  <a:cubicBezTo>
                    <a:pt x="31" y="11"/>
                    <a:pt x="25" y="19"/>
                    <a:pt x="16" y="19"/>
                  </a:cubicBezTo>
                  <a:close/>
                  <a:moveTo>
                    <a:pt x="4" y="4"/>
                  </a:moveTo>
                  <a:cubicBezTo>
                    <a:pt x="5" y="10"/>
                    <a:pt x="10" y="15"/>
                    <a:pt x="16" y="15"/>
                  </a:cubicBezTo>
                  <a:cubicBezTo>
                    <a:pt x="22" y="15"/>
                    <a:pt x="26" y="10"/>
                    <a:pt x="27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1197">
              <a:extLst>
                <a:ext uri="{FF2B5EF4-FFF2-40B4-BE49-F238E27FC236}">
                  <a16:creationId xmlns:a16="http://schemas.microsoft.com/office/drawing/2014/main" id="{97FC3C9B-3165-50B2-439D-FD1099D67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0" y="2227263"/>
              <a:ext cx="120650" cy="134938"/>
            </a:xfrm>
            <a:custGeom>
              <a:avLst/>
              <a:gdLst>
                <a:gd name="T0" fmla="*/ 2 w 32"/>
                <a:gd name="T1" fmla="*/ 36 h 36"/>
                <a:gd name="T2" fmla="*/ 2 w 32"/>
                <a:gd name="T3" fmla="*/ 36 h 36"/>
                <a:gd name="T4" fmla="*/ 1 w 32"/>
                <a:gd name="T5" fmla="*/ 33 h 36"/>
                <a:gd name="T6" fmla="*/ 14 w 32"/>
                <a:gd name="T7" fmla="*/ 1 h 36"/>
                <a:gd name="T8" fmla="*/ 16 w 32"/>
                <a:gd name="T9" fmla="*/ 0 h 36"/>
                <a:gd name="T10" fmla="*/ 16 w 32"/>
                <a:gd name="T11" fmla="*/ 0 h 36"/>
                <a:gd name="T12" fmla="*/ 18 w 32"/>
                <a:gd name="T13" fmla="*/ 1 h 36"/>
                <a:gd name="T14" fmla="*/ 32 w 32"/>
                <a:gd name="T15" fmla="*/ 33 h 36"/>
                <a:gd name="T16" fmla="*/ 30 w 32"/>
                <a:gd name="T17" fmla="*/ 36 h 36"/>
                <a:gd name="T18" fmla="*/ 28 w 32"/>
                <a:gd name="T19" fmla="*/ 35 h 36"/>
                <a:gd name="T20" fmla="*/ 16 w 32"/>
                <a:gd name="T21" fmla="*/ 7 h 36"/>
                <a:gd name="T22" fmla="*/ 4 w 32"/>
                <a:gd name="T23" fmla="*/ 35 h 36"/>
                <a:gd name="T24" fmla="*/ 2 w 3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6">
                  <a:moveTo>
                    <a:pt x="2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1" y="35"/>
                    <a:pt x="0" y="34"/>
                    <a:pt x="1" y="33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1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4"/>
                    <a:pt x="31" y="35"/>
                    <a:pt x="30" y="36"/>
                  </a:cubicBezTo>
                  <a:cubicBezTo>
                    <a:pt x="29" y="36"/>
                    <a:pt x="28" y="36"/>
                    <a:pt x="28" y="35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6"/>
                    <a:pt x="3" y="36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1198">
              <a:extLst>
                <a:ext uri="{FF2B5EF4-FFF2-40B4-BE49-F238E27FC236}">
                  <a16:creationId xmlns:a16="http://schemas.microsoft.com/office/drawing/2014/main" id="{0DD98E3F-9832-C6C8-3C5D-03C4E22BF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9750" y="2346325"/>
              <a:ext cx="120650" cy="71438"/>
            </a:xfrm>
            <a:custGeom>
              <a:avLst/>
              <a:gdLst>
                <a:gd name="T0" fmla="*/ 16 w 32"/>
                <a:gd name="T1" fmla="*/ 19 h 19"/>
                <a:gd name="T2" fmla="*/ 0 w 32"/>
                <a:gd name="T3" fmla="*/ 2 h 19"/>
                <a:gd name="T4" fmla="*/ 2 w 32"/>
                <a:gd name="T5" fmla="*/ 0 h 19"/>
                <a:gd name="T6" fmla="*/ 30 w 32"/>
                <a:gd name="T7" fmla="*/ 0 h 19"/>
                <a:gd name="T8" fmla="*/ 32 w 32"/>
                <a:gd name="T9" fmla="*/ 2 h 19"/>
                <a:gd name="T10" fmla="*/ 16 w 32"/>
                <a:gd name="T11" fmla="*/ 19 h 19"/>
                <a:gd name="T12" fmla="*/ 5 w 32"/>
                <a:gd name="T13" fmla="*/ 4 h 19"/>
                <a:gd name="T14" fmla="*/ 16 w 32"/>
                <a:gd name="T15" fmla="*/ 15 h 19"/>
                <a:gd name="T16" fmla="*/ 28 w 32"/>
                <a:gd name="T17" fmla="*/ 4 h 19"/>
                <a:gd name="T18" fmla="*/ 5 w 32"/>
                <a:gd name="T1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9">
                  <a:moveTo>
                    <a:pt x="16" y="19"/>
                  </a:moveTo>
                  <a:cubicBezTo>
                    <a:pt x="7" y="19"/>
                    <a:pt x="0" y="11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11"/>
                    <a:pt x="25" y="19"/>
                    <a:pt x="16" y="19"/>
                  </a:cubicBezTo>
                  <a:close/>
                  <a:moveTo>
                    <a:pt x="5" y="4"/>
                  </a:moveTo>
                  <a:cubicBezTo>
                    <a:pt x="5" y="10"/>
                    <a:pt x="10" y="15"/>
                    <a:pt x="16" y="15"/>
                  </a:cubicBezTo>
                  <a:cubicBezTo>
                    <a:pt x="22" y="15"/>
                    <a:pt x="27" y="10"/>
                    <a:pt x="28" y="4"/>
                  </a:cubicBezTo>
                  <a:lnTo>
                    <a:pt x="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1199">
              <a:extLst>
                <a:ext uri="{FF2B5EF4-FFF2-40B4-BE49-F238E27FC236}">
                  <a16:creationId xmlns:a16="http://schemas.microsoft.com/office/drawing/2014/main" id="{868A3BD1-8BE4-6C55-3FBD-71E6B5C24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227263"/>
              <a:ext cx="123825" cy="14288"/>
            </a:xfrm>
            <a:custGeom>
              <a:avLst/>
              <a:gdLst>
                <a:gd name="T0" fmla="*/ 31 w 33"/>
                <a:gd name="T1" fmla="*/ 4 h 4"/>
                <a:gd name="T2" fmla="*/ 2 w 33"/>
                <a:gd name="T3" fmla="*/ 4 h 4"/>
                <a:gd name="T4" fmla="*/ 0 w 33"/>
                <a:gd name="T5" fmla="*/ 2 h 4"/>
                <a:gd name="T6" fmla="*/ 2 w 33"/>
                <a:gd name="T7" fmla="*/ 0 h 4"/>
                <a:gd name="T8" fmla="*/ 31 w 33"/>
                <a:gd name="T9" fmla="*/ 0 h 4"/>
                <a:gd name="T10" fmla="*/ 33 w 33"/>
                <a:gd name="T11" fmla="*/ 2 h 4"/>
                <a:gd name="T12" fmla="*/ 31 w 3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4">
                  <a:moveTo>
                    <a:pt x="3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3" y="1"/>
                    <a:pt x="33" y="2"/>
                  </a:cubicBezTo>
                  <a:cubicBezTo>
                    <a:pt x="33" y="3"/>
                    <a:pt x="33" y="4"/>
                    <a:pt x="3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200">
              <a:extLst>
                <a:ext uri="{FF2B5EF4-FFF2-40B4-BE49-F238E27FC236}">
                  <a16:creationId xmlns:a16="http://schemas.microsoft.com/office/drawing/2014/main" id="{84D20F29-1AB2-15F1-B70F-B180BCA41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227263"/>
              <a:ext cx="139700" cy="14288"/>
            </a:xfrm>
            <a:custGeom>
              <a:avLst/>
              <a:gdLst>
                <a:gd name="T0" fmla="*/ 35 w 37"/>
                <a:gd name="T1" fmla="*/ 4 h 4"/>
                <a:gd name="T2" fmla="*/ 2 w 37"/>
                <a:gd name="T3" fmla="*/ 4 h 4"/>
                <a:gd name="T4" fmla="*/ 0 w 37"/>
                <a:gd name="T5" fmla="*/ 2 h 4"/>
                <a:gd name="T6" fmla="*/ 2 w 37"/>
                <a:gd name="T7" fmla="*/ 0 h 4"/>
                <a:gd name="T8" fmla="*/ 35 w 37"/>
                <a:gd name="T9" fmla="*/ 0 h 4"/>
                <a:gd name="T10" fmla="*/ 37 w 37"/>
                <a:gd name="T11" fmla="*/ 2 h 4"/>
                <a:gd name="T12" fmla="*/ 35 w 37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">
                  <a:moveTo>
                    <a:pt x="35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3"/>
                    <a:pt x="36" y="4"/>
                    <a:pt x="3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A768571-939C-3CC5-03FA-54397E584F18}"/>
              </a:ext>
            </a:extLst>
          </p:cNvPr>
          <p:cNvGrpSpPr/>
          <p:nvPr/>
        </p:nvGrpSpPr>
        <p:grpSpPr>
          <a:xfrm>
            <a:off x="4813102" y="5217937"/>
            <a:ext cx="453035" cy="455551"/>
            <a:chOff x="2025650" y="2516188"/>
            <a:chExt cx="285750" cy="287337"/>
          </a:xfrm>
          <a:solidFill>
            <a:schemeClr val="bg1"/>
          </a:solidFill>
        </p:grpSpPr>
        <p:sp>
          <p:nvSpPr>
            <p:cNvPr id="94" name="Freeform 1153">
              <a:extLst>
                <a:ext uri="{FF2B5EF4-FFF2-40B4-BE49-F238E27FC236}">
                  <a16:creationId xmlns:a16="http://schemas.microsoft.com/office/drawing/2014/main" id="{139E8D36-1E1F-5808-4744-B7789E8EB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95" name="Freeform 1154">
              <a:extLst>
                <a:ext uri="{FF2B5EF4-FFF2-40B4-BE49-F238E27FC236}">
                  <a16:creationId xmlns:a16="http://schemas.microsoft.com/office/drawing/2014/main" id="{DD47D652-7CCF-4283-14A2-5749CD3AF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96" name="Freeform 1155">
              <a:extLst>
                <a:ext uri="{FF2B5EF4-FFF2-40B4-BE49-F238E27FC236}">
                  <a16:creationId xmlns:a16="http://schemas.microsoft.com/office/drawing/2014/main" id="{EEDE31D7-CE15-AE13-805B-77174F950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97" name="Freeform 1156">
              <a:extLst>
                <a:ext uri="{FF2B5EF4-FFF2-40B4-BE49-F238E27FC236}">
                  <a16:creationId xmlns:a16="http://schemas.microsoft.com/office/drawing/2014/main" id="{F9BEA0DF-34C9-93C3-3ADA-D188A5C28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98" name="Freeform 1157">
              <a:extLst>
                <a:ext uri="{FF2B5EF4-FFF2-40B4-BE49-F238E27FC236}">
                  <a16:creationId xmlns:a16="http://schemas.microsoft.com/office/drawing/2014/main" id="{37B4EEB3-861C-7633-4ED7-1C628831D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99" name="Freeform 1158">
              <a:extLst>
                <a:ext uri="{FF2B5EF4-FFF2-40B4-BE49-F238E27FC236}">
                  <a16:creationId xmlns:a16="http://schemas.microsoft.com/office/drawing/2014/main" id="{423BA40A-AA74-E50E-6F4A-A75614E27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100" name="Freeform 1159">
              <a:extLst>
                <a:ext uri="{FF2B5EF4-FFF2-40B4-BE49-F238E27FC236}">
                  <a16:creationId xmlns:a16="http://schemas.microsoft.com/office/drawing/2014/main" id="{E7F0B6FF-F872-13F8-5C1F-EA6C021265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  <p:sp>
          <p:nvSpPr>
            <p:cNvPr id="101" name="Freeform 1160">
              <a:extLst>
                <a:ext uri="{FF2B5EF4-FFF2-40B4-BE49-F238E27FC236}">
                  <a16:creationId xmlns:a16="http://schemas.microsoft.com/office/drawing/2014/main" id="{6BCB247A-BF10-BB34-D1EB-F39E64EC8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highlight>
                  <a:srgbClr val="F2F2F2"/>
                </a:highligh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0891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567F3EF9-5F83-EB26-CFBE-A7CBF5374830}"/>
              </a:ext>
            </a:extLst>
          </p:cNvPr>
          <p:cNvSpPr/>
          <p:nvPr/>
        </p:nvSpPr>
        <p:spPr>
          <a:xfrm>
            <a:off x="0" y="2503218"/>
            <a:ext cx="9443329" cy="20351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90ED1A2-71CB-F97F-91E0-6C78585AAE10}"/>
              </a:ext>
            </a:extLst>
          </p:cNvPr>
          <p:cNvSpPr txBox="1"/>
          <p:nvPr/>
        </p:nvSpPr>
        <p:spPr>
          <a:xfrm>
            <a:off x="344070" y="2501494"/>
            <a:ext cx="1375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i="1">
                <a:latin typeface="VAG Rounded Std Thin"/>
                <a:cs typeface="Helvetica" panose="020B0604020202020204" pitchFamily="34" charset="0"/>
              </a:rPr>
              <a:t>Provide evidence to influence policy design 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50A61A0-0563-0B61-0B34-AA885FFBA374}"/>
              </a:ext>
            </a:extLst>
          </p:cNvPr>
          <p:cNvCxnSpPr>
            <a:cxnSpLocks/>
          </p:cNvCxnSpPr>
          <p:nvPr/>
        </p:nvCxnSpPr>
        <p:spPr>
          <a:xfrm flipV="1">
            <a:off x="1912765" y="2299847"/>
            <a:ext cx="0" cy="644546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7C4E15A-6696-06F7-EC73-FC6E786B9364}"/>
              </a:ext>
            </a:extLst>
          </p:cNvPr>
          <p:cNvSpPr txBox="1"/>
          <p:nvPr/>
        </p:nvSpPr>
        <p:spPr>
          <a:xfrm>
            <a:off x="1273352" y="1442172"/>
            <a:ext cx="1278827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latin typeface="VAG Rounded Std Thin"/>
              </a:rPr>
              <a:t>Policy-mak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A2456B-0E7C-F948-CAF8-F0F742783561}"/>
              </a:ext>
            </a:extLst>
          </p:cNvPr>
          <p:cNvSpPr txBox="1"/>
          <p:nvPr/>
        </p:nvSpPr>
        <p:spPr>
          <a:xfrm>
            <a:off x="139782" y="4169084"/>
            <a:ext cx="891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i="1">
                <a:latin typeface="VAG Rounded Std Thin"/>
                <a:cs typeface="Helvetica" panose="020B0604020202020204" pitchFamily="34" charset="0"/>
              </a:rPr>
              <a:t>Report data on MSM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9CE1F4-300C-4283-BF4F-BD72AC07DCAA}"/>
              </a:ext>
            </a:extLst>
          </p:cNvPr>
          <p:cNvSpPr/>
          <p:nvPr/>
        </p:nvSpPr>
        <p:spPr>
          <a:xfrm>
            <a:off x="1104668" y="1328291"/>
            <a:ext cx="1616194" cy="86927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VAG Rounded Std Thin"/>
              </a:rPr>
              <a:t>Policymakers (CBK,SASRA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5F00F2-A1AD-9964-F3C6-F60AE06F0328}"/>
              </a:ext>
            </a:extLst>
          </p:cNvPr>
          <p:cNvSpPr/>
          <p:nvPr/>
        </p:nvSpPr>
        <p:spPr>
          <a:xfrm>
            <a:off x="598868" y="4831891"/>
            <a:ext cx="1616194" cy="8692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VAG Rounded Std Thin"/>
                <a:cs typeface="Helvetica" panose="020B0604020202020204" pitchFamily="34" charset="0"/>
              </a:rPr>
              <a:t>FS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F1BA23-A73A-86DD-C6A3-4AD351544B38}"/>
              </a:ext>
            </a:extLst>
          </p:cNvPr>
          <p:cNvSpPr/>
          <p:nvPr/>
        </p:nvSpPr>
        <p:spPr>
          <a:xfrm>
            <a:off x="9476462" y="628914"/>
            <a:ext cx="2718038" cy="2630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>
              <a:lnSpc>
                <a:spcPct val="107000"/>
              </a:lnSpc>
              <a:spcBef>
                <a:spcPts val="0"/>
              </a:spcBef>
            </a:pPr>
            <a:r>
              <a:rPr lang="en-US" sz="1600" b="1" u="sng">
                <a:solidFill>
                  <a:schemeClr val="accent3"/>
                </a:solidFill>
                <a:effectLst/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Ultimate goals</a:t>
            </a:r>
            <a:r>
              <a:rPr lang="en-US" sz="1600" b="1">
                <a:solidFill>
                  <a:schemeClr val="accent3"/>
                </a:solidFill>
                <a:effectLst/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:</a:t>
            </a: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effectLst/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Increase in evidence-based public policies that support  (Women) SMEs</a:t>
            </a: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chemeClr val="bg1"/>
              </a:solidFill>
              <a:effectLst/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050">
                <a:solidFill>
                  <a:schemeClr val="bg1"/>
                </a:solidFill>
                <a:effectLst/>
                <a:latin typeface="VAG Rounded Std Thin"/>
                <a:ea typeface="Calibri" panose="020F0502020204030204" pitchFamily="34" charset="0"/>
                <a:cs typeface="Arial" panose="020B0604020202020204" pitchFamily="34" charset="0"/>
              </a:rPr>
              <a:t>Financial solutions designed  to respond to the diverse needs of women and MSMEs</a:t>
            </a:r>
            <a:endParaRPr lang="en-US" sz="900">
              <a:solidFill>
                <a:schemeClr val="bg1"/>
              </a:solidFill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Increase in MSME-centric FSPs</a:t>
            </a:r>
            <a:endParaRPr lang="en-US" sz="1200">
              <a:effectLst/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70F127-4939-E569-F40C-66F5D4AC80B7}"/>
              </a:ext>
            </a:extLst>
          </p:cNvPr>
          <p:cNvSpPr txBox="1"/>
          <p:nvPr/>
        </p:nvSpPr>
        <p:spPr>
          <a:xfrm>
            <a:off x="2588038" y="2540710"/>
            <a:ext cx="891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VAG Rounded Std Thin"/>
                <a:cs typeface="Helvetica" panose="020B0604020202020204" pitchFamily="34" charset="0"/>
              </a:rPr>
              <a:t>Set inclusive polici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AAF5897-95A4-2ABF-31BB-88FBCA10C073}"/>
              </a:ext>
            </a:extLst>
          </p:cNvPr>
          <p:cNvSpPr/>
          <p:nvPr/>
        </p:nvSpPr>
        <p:spPr>
          <a:xfrm>
            <a:off x="870350" y="3064687"/>
            <a:ext cx="1616194" cy="8692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VAG Rounded Std Thin"/>
              </a:rPr>
              <a:t>Data aggregators KBA, AMFI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9B573CC-1CA3-7D72-99A9-D7345DEE8EB5}"/>
              </a:ext>
            </a:extLst>
          </p:cNvPr>
          <p:cNvCxnSpPr>
            <a:cxnSpLocks/>
          </p:cNvCxnSpPr>
          <p:nvPr/>
        </p:nvCxnSpPr>
        <p:spPr>
          <a:xfrm flipV="1">
            <a:off x="1107560" y="4071906"/>
            <a:ext cx="0" cy="644546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70B765A5-39A5-AB34-EC9D-2BF86AD02FBC}"/>
              </a:ext>
            </a:extLst>
          </p:cNvPr>
          <p:cNvCxnSpPr>
            <a:cxnSpLocks/>
          </p:cNvCxnSpPr>
          <p:nvPr/>
        </p:nvCxnSpPr>
        <p:spPr>
          <a:xfrm>
            <a:off x="1301625" y="4068161"/>
            <a:ext cx="0" cy="644546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F29E6AAB-2222-B580-F893-411A351E72A0}"/>
              </a:ext>
            </a:extLst>
          </p:cNvPr>
          <p:cNvSpPr/>
          <p:nvPr/>
        </p:nvSpPr>
        <p:spPr>
          <a:xfrm>
            <a:off x="2783367" y="4842547"/>
            <a:ext cx="6067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ncreased availability and use of gender-disaggregated dat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mproved business decisions based on evid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ncreased interest in serving the WMSME 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Expanded development of women-centric solution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0AF9A24-9309-76C5-F5E1-7BB2E930143E}"/>
              </a:ext>
            </a:extLst>
          </p:cNvPr>
          <p:cNvSpPr/>
          <p:nvPr/>
        </p:nvSpPr>
        <p:spPr>
          <a:xfrm>
            <a:off x="2987713" y="3259207"/>
            <a:ext cx="568275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mprove the availability of gender-disaggregated data publicly </a:t>
            </a:r>
            <a:br>
              <a:rPr lang="en-US" sz="1200">
                <a:latin typeface="VAG Rounded Std Thin"/>
                <a:cs typeface="Helvetica" panose="020B0604020202020204" pitchFamily="34" charset="0"/>
              </a:rPr>
            </a:br>
            <a:r>
              <a:rPr lang="en-US" sz="1200">
                <a:latin typeface="VAG Rounded Std Thin"/>
                <a:cs typeface="Helvetica" panose="020B0604020202020204" pitchFamily="34" charset="0"/>
              </a:rPr>
              <a:t>at an aggregate lev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/>
              </a:rPr>
              <a:t>Promote the use of data to develop women-centric solutions</a:t>
            </a:r>
            <a:endParaRPr lang="en-US" sz="1200">
              <a:latin typeface="VAG Rounded Std Thin"/>
              <a:cs typeface="Helvetica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nform policy to set evidence-based inclusive policies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2CDFF19-C601-3CD7-D173-CA1AE14A8F9F}"/>
              </a:ext>
            </a:extLst>
          </p:cNvPr>
          <p:cNvSpPr/>
          <p:nvPr/>
        </p:nvSpPr>
        <p:spPr>
          <a:xfrm>
            <a:off x="3168297" y="1279671"/>
            <a:ext cx="56827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ncrease in number of policies and programs in place to support women MSMEs (improved regulatory and legal framework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Mainstreaming of gender-disaggregated data collection and 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AG Rounded Std Thin"/>
                <a:cs typeface="Helvetica" panose="020B0604020202020204" pitchFamily="34" charset="0"/>
              </a:rPr>
              <a:t>Improve harmonization of data and definitions e.g. definition of MSMEs</a:t>
            </a: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BDDDFC1B-8B33-E2A1-6B5E-668DF491DA7C}"/>
              </a:ext>
            </a:extLst>
          </p:cNvPr>
          <p:cNvCxnSpPr>
            <a:cxnSpLocks/>
            <a:endCxn id="26" idx="3"/>
          </p:cNvCxnSpPr>
          <p:nvPr/>
        </p:nvCxnSpPr>
        <p:spPr>
          <a:xfrm rot="5400000">
            <a:off x="922956" y="3603555"/>
            <a:ext cx="2955081" cy="370868"/>
          </a:xfrm>
          <a:prstGeom prst="bentConnector2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FAA6D79D-EF0D-4859-804E-FF82DC838AE1}"/>
              </a:ext>
            </a:extLst>
          </p:cNvPr>
          <p:cNvSpPr txBox="1"/>
          <p:nvPr/>
        </p:nvSpPr>
        <p:spPr>
          <a:xfrm>
            <a:off x="1406965" y="4092415"/>
            <a:ext cx="1145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>
                <a:latin typeface="VAG Rounded Std Thin"/>
                <a:cs typeface="Helvetica" panose="020B0604020202020204" pitchFamily="34" charset="0"/>
              </a:rPr>
              <a:t>Provide market data for product development &amp; solution design</a:t>
            </a:r>
          </a:p>
        </p:txBody>
      </p: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E0B0C33E-C0C2-DEE5-71CF-AE476933C6A9}"/>
              </a:ext>
            </a:extLst>
          </p:cNvPr>
          <p:cNvSpPr/>
          <p:nvPr/>
        </p:nvSpPr>
        <p:spPr>
          <a:xfrm>
            <a:off x="8983173" y="1381784"/>
            <a:ext cx="328036" cy="82940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B459BA48-E585-5088-04B0-CBC92995AF2D}"/>
              </a:ext>
            </a:extLst>
          </p:cNvPr>
          <p:cNvSpPr/>
          <p:nvPr/>
        </p:nvSpPr>
        <p:spPr>
          <a:xfrm>
            <a:off x="8983173" y="3084624"/>
            <a:ext cx="328036" cy="82940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0ECF9B49-5C72-29CC-7DF5-E7704FFD994E}"/>
              </a:ext>
            </a:extLst>
          </p:cNvPr>
          <p:cNvSpPr/>
          <p:nvPr/>
        </p:nvSpPr>
        <p:spPr>
          <a:xfrm>
            <a:off x="8983173" y="4892279"/>
            <a:ext cx="328036" cy="82940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B027213-FEE5-EB9F-C0B3-65F16F6BF29C}"/>
              </a:ext>
            </a:extLst>
          </p:cNvPr>
          <p:cNvSpPr/>
          <p:nvPr/>
        </p:nvSpPr>
        <p:spPr>
          <a:xfrm>
            <a:off x="216646" y="873765"/>
            <a:ext cx="8634407" cy="522701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03A45E5-EF54-3453-DF67-33AB82EFDF94}"/>
              </a:ext>
            </a:extLst>
          </p:cNvPr>
          <p:cNvSpPr/>
          <p:nvPr/>
        </p:nvSpPr>
        <p:spPr>
          <a:xfrm>
            <a:off x="9476462" y="3818820"/>
            <a:ext cx="2718038" cy="22018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>
              <a:effectLst/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>
                <a:effectLst/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Women can access increased financing for their businesses </a:t>
            </a:r>
          </a:p>
          <a:p>
            <a:pPr marR="0">
              <a:lnSpc>
                <a:spcPct val="107000"/>
              </a:lnSpc>
              <a:spcBef>
                <a:spcPts val="0"/>
              </a:spcBef>
            </a:pPr>
            <a:endParaRPr lang="en-US" sz="1200"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>
                <a:effectLst/>
                <a:latin typeface="VAG Rounded Std Thin"/>
                <a:ea typeface="Calibri" panose="020F0502020204030204" pitchFamily="34" charset="0"/>
                <a:cs typeface="Helvetica" panose="020B0604020202020204" pitchFamily="34" charset="0"/>
              </a:rPr>
              <a:t>Entrepreneurs can thrive through increased access to business financing and support</a:t>
            </a:r>
          </a:p>
          <a:p>
            <a:pPr marL="171450" marR="0" indent="-17145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>
              <a:effectLst/>
              <a:latin typeface="VAG Rounded Std Thin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2CDC6837-6BB2-5628-1AF8-45AB6A4E25F7}"/>
              </a:ext>
            </a:extLst>
          </p:cNvPr>
          <p:cNvSpPr/>
          <p:nvPr/>
        </p:nvSpPr>
        <p:spPr>
          <a:xfrm>
            <a:off x="10356080" y="3202860"/>
            <a:ext cx="958802" cy="533400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AG Rounded Std Thin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081971-5BA3-101D-009F-DED60653EC40}"/>
              </a:ext>
            </a:extLst>
          </p:cNvPr>
          <p:cNvSpPr txBox="1"/>
          <p:nvPr/>
        </p:nvSpPr>
        <p:spPr>
          <a:xfrm>
            <a:off x="32404" y="6586097"/>
            <a:ext cx="2217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>
                <a:latin typeface="VAG Rounded Std Thin"/>
              </a:rPr>
              <a:t>Adopted from work with FAW/CCX</a:t>
            </a:r>
            <a:endParaRPr lang="en-GB" sz="1100" b="1" i="1">
              <a:latin typeface="VAG Rounded Std Thin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FF7994-9102-175A-422F-17B0D6EC594D}"/>
              </a:ext>
            </a:extLst>
          </p:cNvPr>
          <p:cNvSpPr txBox="1"/>
          <p:nvPr/>
        </p:nvSpPr>
        <p:spPr>
          <a:xfrm>
            <a:off x="1775791" y="252962"/>
            <a:ext cx="7528043" cy="4921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2400" b="1" kern="100">
                <a:solidFill>
                  <a:srgbClr val="F69320"/>
                </a:solidFill>
                <a:latin typeface="VAG Rounded Std Thin"/>
                <a:ea typeface="Calibri"/>
                <a:cs typeface="Times New Roman"/>
              </a:rPr>
              <a:t>Where We Began : The </a:t>
            </a:r>
            <a:r>
              <a:rPr lang="en-US" sz="2400" b="1" kern="100">
                <a:solidFill>
                  <a:srgbClr val="F69320"/>
                </a:solidFill>
                <a:effectLst/>
                <a:latin typeface="VAG Rounded Std Thin"/>
                <a:ea typeface="Calibri"/>
                <a:cs typeface="Times New Roman"/>
              </a:rPr>
              <a:t>Theory of Change</a:t>
            </a:r>
            <a:endParaRPr lang="en-US" sz="2400" kern="100">
              <a:solidFill>
                <a:srgbClr val="F69320"/>
              </a:solidFill>
              <a:effectLst/>
              <a:latin typeface="VAG Rounded Std Thin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574070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5"/>
          <p:cNvSpPr/>
          <p:nvPr/>
        </p:nvSpPr>
        <p:spPr>
          <a:xfrm>
            <a:off x="595333" y="1903827"/>
            <a:ext cx="2422159" cy="2480839"/>
          </a:xfrm>
          <a:custGeom>
            <a:avLst/>
            <a:gdLst/>
            <a:ahLst/>
            <a:cxnLst/>
            <a:rect l="l" t="t" r="r" b="b"/>
            <a:pathLst>
              <a:path w="88540" h="90685" extrusionOk="0">
                <a:moveTo>
                  <a:pt x="42321" y="1"/>
                </a:moveTo>
                <a:cubicBezTo>
                  <a:pt x="42092" y="1"/>
                  <a:pt x="41858" y="81"/>
                  <a:pt x="41612" y="183"/>
                </a:cubicBezTo>
                <a:cubicBezTo>
                  <a:pt x="41558" y="210"/>
                  <a:pt x="41466" y="238"/>
                  <a:pt x="41416" y="238"/>
                </a:cubicBezTo>
                <a:cubicBezTo>
                  <a:pt x="41396" y="238"/>
                  <a:pt x="41383" y="233"/>
                  <a:pt x="41383" y="222"/>
                </a:cubicBezTo>
                <a:cubicBezTo>
                  <a:pt x="41288" y="111"/>
                  <a:pt x="41200" y="79"/>
                  <a:pt x="41113" y="79"/>
                </a:cubicBezTo>
                <a:cubicBezTo>
                  <a:pt x="40989" y="79"/>
                  <a:pt x="40867" y="145"/>
                  <a:pt x="40732" y="145"/>
                </a:cubicBezTo>
                <a:lnTo>
                  <a:pt x="39853" y="145"/>
                </a:lnTo>
                <a:cubicBezTo>
                  <a:pt x="39814" y="222"/>
                  <a:pt x="39776" y="336"/>
                  <a:pt x="39700" y="451"/>
                </a:cubicBezTo>
                <a:cubicBezTo>
                  <a:pt x="39654" y="245"/>
                  <a:pt x="39636" y="162"/>
                  <a:pt x="39554" y="162"/>
                </a:cubicBezTo>
                <a:cubicBezTo>
                  <a:pt x="39499" y="162"/>
                  <a:pt x="39417" y="199"/>
                  <a:pt x="39279" y="260"/>
                </a:cubicBezTo>
                <a:cubicBezTo>
                  <a:pt x="39241" y="260"/>
                  <a:pt x="39126" y="260"/>
                  <a:pt x="39088" y="222"/>
                </a:cubicBezTo>
                <a:cubicBezTo>
                  <a:pt x="39030" y="164"/>
                  <a:pt x="38976" y="145"/>
                  <a:pt x="38924" y="145"/>
                </a:cubicBezTo>
                <a:cubicBezTo>
                  <a:pt x="38818" y="145"/>
                  <a:pt x="38722" y="226"/>
                  <a:pt x="38627" y="226"/>
                </a:cubicBezTo>
                <a:cubicBezTo>
                  <a:pt x="38615" y="226"/>
                  <a:pt x="38603" y="225"/>
                  <a:pt x="38591" y="222"/>
                </a:cubicBezTo>
                <a:cubicBezTo>
                  <a:pt x="38578" y="220"/>
                  <a:pt x="38566" y="219"/>
                  <a:pt x="38553" y="219"/>
                </a:cubicBezTo>
                <a:cubicBezTo>
                  <a:pt x="38405" y="219"/>
                  <a:pt x="38244" y="350"/>
                  <a:pt x="38088" y="350"/>
                </a:cubicBezTo>
                <a:cubicBezTo>
                  <a:pt x="38011" y="350"/>
                  <a:pt x="37936" y="317"/>
                  <a:pt x="37864" y="222"/>
                </a:cubicBezTo>
                <a:cubicBezTo>
                  <a:pt x="37817" y="269"/>
                  <a:pt x="37770" y="286"/>
                  <a:pt x="37724" y="286"/>
                </a:cubicBezTo>
                <a:cubicBezTo>
                  <a:pt x="37603" y="286"/>
                  <a:pt x="37486" y="171"/>
                  <a:pt x="37383" y="171"/>
                </a:cubicBezTo>
                <a:cubicBezTo>
                  <a:pt x="37364" y="171"/>
                  <a:pt x="37346" y="175"/>
                  <a:pt x="37329" y="183"/>
                </a:cubicBezTo>
                <a:cubicBezTo>
                  <a:pt x="37176" y="298"/>
                  <a:pt x="37023" y="451"/>
                  <a:pt x="36908" y="604"/>
                </a:cubicBezTo>
                <a:cubicBezTo>
                  <a:pt x="36678" y="489"/>
                  <a:pt x="36449" y="413"/>
                  <a:pt x="36181" y="298"/>
                </a:cubicBezTo>
                <a:lnTo>
                  <a:pt x="36181" y="298"/>
                </a:lnTo>
                <a:cubicBezTo>
                  <a:pt x="36219" y="413"/>
                  <a:pt x="36219" y="528"/>
                  <a:pt x="36219" y="528"/>
                </a:cubicBezTo>
                <a:cubicBezTo>
                  <a:pt x="35939" y="635"/>
                  <a:pt x="35647" y="682"/>
                  <a:pt x="35349" y="682"/>
                </a:cubicBezTo>
                <a:cubicBezTo>
                  <a:pt x="35119" y="682"/>
                  <a:pt x="34885" y="654"/>
                  <a:pt x="34651" y="604"/>
                </a:cubicBezTo>
                <a:cubicBezTo>
                  <a:pt x="34558" y="573"/>
                  <a:pt x="34416" y="517"/>
                  <a:pt x="34324" y="517"/>
                </a:cubicBezTo>
                <a:cubicBezTo>
                  <a:pt x="34302" y="517"/>
                  <a:pt x="34283" y="520"/>
                  <a:pt x="34269" y="528"/>
                </a:cubicBezTo>
                <a:cubicBezTo>
                  <a:pt x="34154" y="642"/>
                  <a:pt x="34078" y="872"/>
                  <a:pt x="34001" y="1025"/>
                </a:cubicBezTo>
                <a:cubicBezTo>
                  <a:pt x="33914" y="1019"/>
                  <a:pt x="33835" y="1015"/>
                  <a:pt x="33763" y="1015"/>
                </a:cubicBezTo>
                <a:cubicBezTo>
                  <a:pt x="33387" y="1015"/>
                  <a:pt x="33174" y="1100"/>
                  <a:pt x="32854" y="1293"/>
                </a:cubicBezTo>
                <a:cubicBezTo>
                  <a:pt x="32777" y="1178"/>
                  <a:pt x="32662" y="1063"/>
                  <a:pt x="32548" y="948"/>
                </a:cubicBezTo>
                <a:cubicBezTo>
                  <a:pt x="32433" y="1101"/>
                  <a:pt x="32357" y="1216"/>
                  <a:pt x="32242" y="1331"/>
                </a:cubicBezTo>
                <a:cubicBezTo>
                  <a:pt x="32181" y="1225"/>
                  <a:pt x="32108" y="1191"/>
                  <a:pt x="32031" y="1191"/>
                </a:cubicBezTo>
                <a:cubicBezTo>
                  <a:pt x="31913" y="1191"/>
                  <a:pt x="31784" y="1269"/>
                  <a:pt x="31668" y="1293"/>
                </a:cubicBezTo>
                <a:cubicBezTo>
                  <a:pt x="31477" y="1331"/>
                  <a:pt x="31209" y="1331"/>
                  <a:pt x="31094" y="1637"/>
                </a:cubicBezTo>
                <a:cubicBezTo>
                  <a:pt x="31056" y="1752"/>
                  <a:pt x="30521" y="1637"/>
                  <a:pt x="30406" y="1790"/>
                </a:cubicBezTo>
                <a:cubicBezTo>
                  <a:pt x="30329" y="1876"/>
                  <a:pt x="30265" y="1907"/>
                  <a:pt x="30208" y="1907"/>
                </a:cubicBezTo>
                <a:cubicBezTo>
                  <a:pt x="30058" y="1907"/>
                  <a:pt x="29958" y="1697"/>
                  <a:pt x="29822" y="1697"/>
                </a:cubicBezTo>
                <a:cubicBezTo>
                  <a:pt x="29801" y="1697"/>
                  <a:pt x="29779" y="1702"/>
                  <a:pt x="29756" y="1713"/>
                </a:cubicBezTo>
                <a:cubicBezTo>
                  <a:pt x="29756" y="1752"/>
                  <a:pt x="29718" y="1752"/>
                  <a:pt x="29679" y="1790"/>
                </a:cubicBezTo>
                <a:cubicBezTo>
                  <a:pt x="29756" y="1866"/>
                  <a:pt x="29794" y="1943"/>
                  <a:pt x="29871" y="2057"/>
                </a:cubicBezTo>
                <a:cubicBezTo>
                  <a:pt x="29686" y="2088"/>
                  <a:pt x="29452" y="2193"/>
                  <a:pt x="29347" y="2193"/>
                </a:cubicBezTo>
                <a:cubicBezTo>
                  <a:pt x="29322" y="2193"/>
                  <a:pt x="29304" y="2187"/>
                  <a:pt x="29297" y="2172"/>
                </a:cubicBezTo>
                <a:cubicBezTo>
                  <a:pt x="29258" y="2118"/>
                  <a:pt x="29216" y="2098"/>
                  <a:pt x="29172" y="2098"/>
                </a:cubicBezTo>
                <a:cubicBezTo>
                  <a:pt x="29059" y="2098"/>
                  <a:pt x="28935" y="2232"/>
                  <a:pt x="28828" y="2232"/>
                </a:cubicBezTo>
                <a:cubicBezTo>
                  <a:pt x="28775" y="2232"/>
                  <a:pt x="28726" y="2198"/>
                  <a:pt x="28685" y="2096"/>
                </a:cubicBezTo>
                <a:cubicBezTo>
                  <a:pt x="28494" y="2172"/>
                  <a:pt x="28302" y="2287"/>
                  <a:pt x="28073" y="2402"/>
                </a:cubicBezTo>
                <a:cubicBezTo>
                  <a:pt x="28226" y="2440"/>
                  <a:pt x="28302" y="2478"/>
                  <a:pt x="28494" y="2555"/>
                </a:cubicBezTo>
                <a:cubicBezTo>
                  <a:pt x="28302" y="2593"/>
                  <a:pt x="28149" y="2631"/>
                  <a:pt x="28035" y="2669"/>
                </a:cubicBezTo>
                <a:cubicBezTo>
                  <a:pt x="27949" y="2669"/>
                  <a:pt x="27841" y="2605"/>
                  <a:pt x="27777" y="2605"/>
                </a:cubicBezTo>
                <a:cubicBezTo>
                  <a:pt x="27755" y="2605"/>
                  <a:pt x="27738" y="2612"/>
                  <a:pt x="27729" y="2631"/>
                </a:cubicBezTo>
                <a:cubicBezTo>
                  <a:pt x="27346" y="3052"/>
                  <a:pt x="26734" y="2975"/>
                  <a:pt x="26314" y="3320"/>
                </a:cubicBezTo>
                <a:cubicBezTo>
                  <a:pt x="26352" y="3358"/>
                  <a:pt x="26352" y="3358"/>
                  <a:pt x="26467" y="3511"/>
                </a:cubicBezTo>
                <a:cubicBezTo>
                  <a:pt x="26237" y="3549"/>
                  <a:pt x="25969" y="3511"/>
                  <a:pt x="25816" y="3626"/>
                </a:cubicBezTo>
                <a:cubicBezTo>
                  <a:pt x="25013" y="4199"/>
                  <a:pt x="24057" y="4467"/>
                  <a:pt x="23292" y="5041"/>
                </a:cubicBezTo>
                <a:cubicBezTo>
                  <a:pt x="22757" y="5423"/>
                  <a:pt x="22221" y="5729"/>
                  <a:pt x="21648" y="6035"/>
                </a:cubicBezTo>
                <a:cubicBezTo>
                  <a:pt x="21189" y="6265"/>
                  <a:pt x="20768" y="6571"/>
                  <a:pt x="20309" y="6838"/>
                </a:cubicBezTo>
                <a:cubicBezTo>
                  <a:pt x="19659" y="7259"/>
                  <a:pt x="18970" y="7680"/>
                  <a:pt x="18320" y="8100"/>
                </a:cubicBezTo>
                <a:cubicBezTo>
                  <a:pt x="17900" y="8406"/>
                  <a:pt x="17555" y="8904"/>
                  <a:pt x="16982" y="9018"/>
                </a:cubicBezTo>
                <a:cubicBezTo>
                  <a:pt x="16867" y="9057"/>
                  <a:pt x="16752" y="9171"/>
                  <a:pt x="16714" y="9286"/>
                </a:cubicBezTo>
                <a:cubicBezTo>
                  <a:pt x="16523" y="9592"/>
                  <a:pt x="16217" y="9783"/>
                  <a:pt x="15911" y="9898"/>
                </a:cubicBezTo>
                <a:cubicBezTo>
                  <a:pt x="15758" y="9974"/>
                  <a:pt x="15643" y="10051"/>
                  <a:pt x="15528" y="10166"/>
                </a:cubicBezTo>
                <a:cubicBezTo>
                  <a:pt x="15299" y="10357"/>
                  <a:pt x="15146" y="10739"/>
                  <a:pt x="14916" y="10778"/>
                </a:cubicBezTo>
                <a:cubicBezTo>
                  <a:pt x="14496" y="10778"/>
                  <a:pt x="14534" y="11198"/>
                  <a:pt x="14304" y="11351"/>
                </a:cubicBezTo>
                <a:cubicBezTo>
                  <a:pt x="14113" y="11466"/>
                  <a:pt x="13960" y="11619"/>
                  <a:pt x="13769" y="11772"/>
                </a:cubicBezTo>
                <a:cubicBezTo>
                  <a:pt x="13654" y="11925"/>
                  <a:pt x="13425" y="12040"/>
                  <a:pt x="13387" y="12193"/>
                </a:cubicBezTo>
                <a:cubicBezTo>
                  <a:pt x="13310" y="12499"/>
                  <a:pt x="12889" y="12193"/>
                  <a:pt x="12928" y="12537"/>
                </a:cubicBezTo>
                <a:cubicBezTo>
                  <a:pt x="13004" y="12881"/>
                  <a:pt x="12583" y="12805"/>
                  <a:pt x="12545" y="12958"/>
                </a:cubicBezTo>
                <a:cubicBezTo>
                  <a:pt x="12392" y="13455"/>
                  <a:pt x="11895" y="13608"/>
                  <a:pt x="11665" y="14067"/>
                </a:cubicBezTo>
                <a:cubicBezTo>
                  <a:pt x="11359" y="14717"/>
                  <a:pt x="10595" y="14985"/>
                  <a:pt x="10212" y="15597"/>
                </a:cubicBezTo>
                <a:cubicBezTo>
                  <a:pt x="10097" y="15788"/>
                  <a:pt x="9753" y="15864"/>
                  <a:pt x="9715" y="16056"/>
                </a:cubicBezTo>
                <a:cubicBezTo>
                  <a:pt x="9638" y="16361"/>
                  <a:pt x="9409" y="16438"/>
                  <a:pt x="9218" y="16591"/>
                </a:cubicBezTo>
                <a:cubicBezTo>
                  <a:pt x="9065" y="16744"/>
                  <a:pt x="9103" y="17050"/>
                  <a:pt x="9026" y="17088"/>
                </a:cubicBezTo>
                <a:cubicBezTo>
                  <a:pt x="8415" y="17662"/>
                  <a:pt x="8109" y="18427"/>
                  <a:pt x="7650" y="19039"/>
                </a:cubicBezTo>
                <a:cubicBezTo>
                  <a:pt x="7497" y="19230"/>
                  <a:pt x="7344" y="19459"/>
                  <a:pt x="7229" y="19689"/>
                </a:cubicBezTo>
                <a:cubicBezTo>
                  <a:pt x="6808" y="20607"/>
                  <a:pt x="5967" y="21333"/>
                  <a:pt x="5661" y="22366"/>
                </a:cubicBezTo>
                <a:cubicBezTo>
                  <a:pt x="5661" y="22366"/>
                  <a:pt x="5623" y="22404"/>
                  <a:pt x="5623" y="22404"/>
                </a:cubicBezTo>
                <a:cubicBezTo>
                  <a:pt x="5164" y="22863"/>
                  <a:pt x="4972" y="23514"/>
                  <a:pt x="4705" y="24087"/>
                </a:cubicBezTo>
                <a:cubicBezTo>
                  <a:pt x="4475" y="24508"/>
                  <a:pt x="4360" y="24967"/>
                  <a:pt x="4169" y="25426"/>
                </a:cubicBezTo>
                <a:cubicBezTo>
                  <a:pt x="4016" y="25732"/>
                  <a:pt x="3825" y="25999"/>
                  <a:pt x="3710" y="26305"/>
                </a:cubicBezTo>
                <a:cubicBezTo>
                  <a:pt x="3557" y="26573"/>
                  <a:pt x="3251" y="26879"/>
                  <a:pt x="3290" y="27147"/>
                </a:cubicBezTo>
                <a:cubicBezTo>
                  <a:pt x="3366" y="27568"/>
                  <a:pt x="2945" y="27682"/>
                  <a:pt x="2907" y="27950"/>
                </a:cubicBezTo>
                <a:cubicBezTo>
                  <a:pt x="2907" y="28027"/>
                  <a:pt x="2831" y="28065"/>
                  <a:pt x="2831" y="28103"/>
                </a:cubicBezTo>
                <a:cubicBezTo>
                  <a:pt x="2869" y="28562"/>
                  <a:pt x="2525" y="28906"/>
                  <a:pt x="2486" y="29327"/>
                </a:cubicBezTo>
                <a:cubicBezTo>
                  <a:pt x="2486" y="29786"/>
                  <a:pt x="2142" y="30168"/>
                  <a:pt x="2027" y="30589"/>
                </a:cubicBezTo>
                <a:cubicBezTo>
                  <a:pt x="1836" y="31239"/>
                  <a:pt x="1683" y="31889"/>
                  <a:pt x="1416" y="32501"/>
                </a:cubicBezTo>
                <a:cubicBezTo>
                  <a:pt x="1263" y="32922"/>
                  <a:pt x="1377" y="33419"/>
                  <a:pt x="1033" y="33763"/>
                </a:cubicBezTo>
                <a:cubicBezTo>
                  <a:pt x="1110" y="34452"/>
                  <a:pt x="727" y="35026"/>
                  <a:pt x="689" y="35676"/>
                </a:cubicBezTo>
                <a:cubicBezTo>
                  <a:pt x="574" y="36632"/>
                  <a:pt x="268" y="37550"/>
                  <a:pt x="230" y="38506"/>
                </a:cubicBezTo>
                <a:cubicBezTo>
                  <a:pt x="192" y="39080"/>
                  <a:pt x="153" y="39692"/>
                  <a:pt x="115" y="40304"/>
                </a:cubicBezTo>
                <a:cubicBezTo>
                  <a:pt x="77" y="41221"/>
                  <a:pt x="39" y="42178"/>
                  <a:pt x="39" y="43134"/>
                </a:cubicBezTo>
                <a:cubicBezTo>
                  <a:pt x="0" y="44166"/>
                  <a:pt x="77" y="45237"/>
                  <a:pt x="115" y="46270"/>
                </a:cubicBezTo>
                <a:cubicBezTo>
                  <a:pt x="115" y="46652"/>
                  <a:pt x="153" y="46997"/>
                  <a:pt x="115" y="47341"/>
                </a:cubicBezTo>
                <a:cubicBezTo>
                  <a:pt x="115" y="47609"/>
                  <a:pt x="39" y="47914"/>
                  <a:pt x="77" y="48182"/>
                </a:cubicBezTo>
                <a:cubicBezTo>
                  <a:pt x="115" y="48565"/>
                  <a:pt x="306" y="48985"/>
                  <a:pt x="268" y="49406"/>
                </a:cubicBezTo>
                <a:cubicBezTo>
                  <a:pt x="192" y="50209"/>
                  <a:pt x="498" y="50974"/>
                  <a:pt x="536" y="51777"/>
                </a:cubicBezTo>
                <a:cubicBezTo>
                  <a:pt x="536" y="52083"/>
                  <a:pt x="765" y="52389"/>
                  <a:pt x="727" y="52695"/>
                </a:cubicBezTo>
                <a:cubicBezTo>
                  <a:pt x="689" y="53116"/>
                  <a:pt x="842" y="53498"/>
                  <a:pt x="957" y="53881"/>
                </a:cubicBezTo>
                <a:cubicBezTo>
                  <a:pt x="1033" y="54072"/>
                  <a:pt x="957" y="54302"/>
                  <a:pt x="957" y="54569"/>
                </a:cubicBezTo>
                <a:cubicBezTo>
                  <a:pt x="1454" y="54990"/>
                  <a:pt x="918" y="55793"/>
                  <a:pt x="1416" y="56290"/>
                </a:cubicBezTo>
                <a:cubicBezTo>
                  <a:pt x="1339" y="56482"/>
                  <a:pt x="1263" y="56635"/>
                  <a:pt x="1148" y="56826"/>
                </a:cubicBezTo>
                <a:cubicBezTo>
                  <a:pt x="1377" y="56826"/>
                  <a:pt x="1492" y="56864"/>
                  <a:pt x="1722" y="56864"/>
                </a:cubicBezTo>
                <a:cubicBezTo>
                  <a:pt x="1645" y="57094"/>
                  <a:pt x="1607" y="57323"/>
                  <a:pt x="1569" y="57514"/>
                </a:cubicBezTo>
                <a:cubicBezTo>
                  <a:pt x="1607" y="57514"/>
                  <a:pt x="1645" y="57552"/>
                  <a:pt x="1683" y="57552"/>
                </a:cubicBezTo>
                <a:cubicBezTo>
                  <a:pt x="1607" y="57858"/>
                  <a:pt x="1951" y="58011"/>
                  <a:pt x="1874" y="58279"/>
                </a:cubicBezTo>
                <a:cubicBezTo>
                  <a:pt x="1722" y="58776"/>
                  <a:pt x="1798" y="59235"/>
                  <a:pt x="2219" y="59618"/>
                </a:cubicBezTo>
                <a:cubicBezTo>
                  <a:pt x="2257" y="59656"/>
                  <a:pt x="2180" y="59847"/>
                  <a:pt x="2180" y="60000"/>
                </a:cubicBezTo>
                <a:cubicBezTo>
                  <a:pt x="2295" y="60115"/>
                  <a:pt x="2563" y="60268"/>
                  <a:pt x="2563" y="60421"/>
                </a:cubicBezTo>
                <a:cubicBezTo>
                  <a:pt x="2563" y="60880"/>
                  <a:pt x="2869" y="61148"/>
                  <a:pt x="2945" y="61530"/>
                </a:cubicBezTo>
                <a:cubicBezTo>
                  <a:pt x="3022" y="61836"/>
                  <a:pt x="3137" y="62104"/>
                  <a:pt x="3251" y="62371"/>
                </a:cubicBezTo>
                <a:cubicBezTo>
                  <a:pt x="3366" y="62639"/>
                  <a:pt x="3213" y="63022"/>
                  <a:pt x="3596" y="63098"/>
                </a:cubicBezTo>
                <a:cubicBezTo>
                  <a:pt x="3710" y="63672"/>
                  <a:pt x="4131" y="64054"/>
                  <a:pt x="4284" y="64551"/>
                </a:cubicBezTo>
                <a:cubicBezTo>
                  <a:pt x="4437" y="65125"/>
                  <a:pt x="4781" y="65546"/>
                  <a:pt x="5011" y="66081"/>
                </a:cubicBezTo>
                <a:cubicBezTo>
                  <a:pt x="5240" y="66693"/>
                  <a:pt x="5623" y="67229"/>
                  <a:pt x="5852" y="67841"/>
                </a:cubicBezTo>
                <a:cubicBezTo>
                  <a:pt x="5929" y="68147"/>
                  <a:pt x="6273" y="68338"/>
                  <a:pt x="6349" y="68606"/>
                </a:cubicBezTo>
                <a:cubicBezTo>
                  <a:pt x="6464" y="69065"/>
                  <a:pt x="6808" y="69370"/>
                  <a:pt x="6961" y="69829"/>
                </a:cubicBezTo>
                <a:cubicBezTo>
                  <a:pt x="7038" y="69982"/>
                  <a:pt x="7229" y="70135"/>
                  <a:pt x="7344" y="70250"/>
                </a:cubicBezTo>
                <a:cubicBezTo>
                  <a:pt x="7420" y="70327"/>
                  <a:pt x="7497" y="70403"/>
                  <a:pt x="7497" y="70403"/>
                </a:cubicBezTo>
                <a:cubicBezTo>
                  <a:pt x="7305" y="70747"/>
                  <a:pt x="7650" y="70862"/>
                  <a:pt x="7764" y="71015"/>
                </a:cubicBezTo>
                <a:cubicBezTo>
                  <a:pt x="8109" y="71398"/>
                  <a:pt x="8376" y="71818"/>
                  <a:pt x="8606" y="72277"/>
                </a:cubicBezTo>
                <a:cubicBezTo>
                  <a:pt x="8797" y="72583"/>
                  <a:pt x="8950" y="72927"/>
                  <a:pt x="9218" y="73157"/>
                </a:cubicBezTo>
                <a:cubicBezTo>
                  <a:pt x="9409" y="73348"/>
                  <a:pt x="9485" y="73616"/>
                  <a:pt x="9638" y="73692"/>
                </a:cubicBezTo>
                <a:cubicBezTo>
                  <a:pt x="9906" y="73845"/>
                  <a:pt x="9983" y="74075"/>
                  <a:pt x="10174" y="74228"/>
                </a:cubicBezTo>
                <a:cubicBezTo>
                  <a:pt x="10365" y="74381"/>
                  <a:pt x="10442" y="74687"/>
                  <a:pt x="10633" y="74878"/>
                </a:cubicBezTo>
                <a:cubicBezTo>
                  <a:pt x="10939" y="75107"/>
                  <a:pt x="10862" y="75681"/>
                  <a:pt x="11436" y="75681"/>
                </a:cubicBezTo>
                <a:cubicBezTo>
                  <a:pt x="11474" y="75681"/>
                  <a:pt x="11512" y="75834"/>
                  <a:pt x="11589" y="75911"/>
                </a:cubicBezTo>
                <a:cubicBezTo>
                  <a:pt x="11780" y="76140"/>
                  <a:pt x="11971" y="76331"/>
                  <a:pt x="12163" y="76561"/>
                </a:cubicBezTo>
                <a:cubicBezTo>
                  <a:pt x="12277" y="76637"/>
                  <a:pt x="12392" y="76714"/>
                  <a:pt x="12469" y="76828"/>
                </a:cubicBezTo>
                <a:cubicBezTo>
                  <a:pt x="12851" y="77555"/>
                  <a:pt x="13654" y="77976"/>
                  <a:pt x="14075" y="78664"/>
                </a:cubicBezTo>
                <a:cubicBezTo>
                  <a:pt x="14534" y="78817"/>
                  <a:pt x="14649" y="79391"/>
                  <a:pt x="15108" y="79582"/>
                </a:cubicBezTo>
                <a:cubicBezTo>
                  <a:pt x="15337" y="79659"/>
                  <a:pt x="15490" y="79888"/>
                  <a:pt x="15681" y="80041"/>
                </a:cubicBezTo>
                <a:cubicBezTo>
                  <a:pt x="15788" y="80148"/>
                  <a:pt x="15862" y="80389"/>
                  <a:pt x="15934" y="80389"/>
                </a:cubicBezTo>
                <a:cubicBezTo>
                  <a:pt x="15939" y="80389"/>
                  <a:pt x="15944" y="80388"/>
                  <a:pt x="15949" y="80385"/>
                </a:cubicBezTo>
                <a:cubicBezTo>
                  <a:pt x="15979" y="80380"/>
                  <a:pt x="16008" y="80378"/>
                  <a:pt x="16035" y="80378"/>
                </a:cubicBezTo>
                <a:cubicBezTo>
                  <a:pt x="16415" y="80378"/>
                  <a:pt x="16474" y="80849"/>
                  <a:pt x="16867" y="80921"/>
                </a:cubicBezTo>
                <a:cubicBezTo>
                  <a:pt x="17173" y="80959"/>
                  <a:pt x="17402" y="81418"/>
                  <a:pt x="17670" y="81686"/>
                </a:cubicBezTo>
                <a:cubicBezTo>
                  <a:pt x="17747" y="81724"/>
                  <a:pt x="17785" y="81800"/>
                  <a:pt x="17861" y="81839"/>
                </a:cubicBezTo>
                <a:cubicBezTo>
                  <a:pt x="18129" y="82030"/>
                  <a:pt x="18397" y="82221"/>
                  <a:pt x="18664" y="82412"/>
                </a:cubicBezTo>
                <a:cubicBezTo>
                  <a:pt x="19085" y="82718"/>
                  <a:pt x="19621" y="82910"/>
                  <a:pt x="19850" y="83445"/>
                </a:cubicBezTo>
                <a:cubicBezTo>
                  <a:pt x="19888" y="83483"/>
                  <a:pt x="20003" y="83483"/>
                  <a:pt x="20080" y="83522"/>
                </a:cubicBezTo>
                <a:cubicBezTo>
                  <a:pt x="20271" y="83598"/>
                  <a:pt x="20462" y="83675"/>
                  <a:pt x="20653" y="83789"/>
                </a:cubicBezTo>
                <a:cubicBezTo>
                  <a:pt x="20806" y="83904"/>
                  <a:pt x="20997" y="84095"/>
                  <a:pt x="21150" y="84210"/>
                </a:cubicBezTo>
                <a:cubicBezTo>
                  <a:pt x="21227" y="84172"/>
                  <a:pt x="21303" y="84133"/>
                  <a:pt x="21342" y="84133"/>
                </a:cubicBezTo>
                <a:cubicBezTo>
                  <a:pt x="21571" y="84325"/>
                  <a:pt x="21724" y="84592"/>
                  <a:pt x="21954" y="84631"/>
                </a:cubicBezTo>
                <a:cubicBezTo>
                  <a:pt x="22336" y="84669"/>
                  <a:pt x="22604" y="85051"/>
                  <a:pt x="23025" y="85051"/>
                </a:cubicBezTo>
                <a:cubicBezTo>
                  <a:pt x="23177" y="85090"/>
                  <a:pt x="23445" y="85128"/>
                  <a:pt x="23483" y="85243"/>
                </a:cubicBezTo>
                <a:cubicBezTo>
                  <a:pt x="23598" y="85549"/>
                  <a:pt x="23866" y="85549"/>
                  <a:pt x="24095" y="85625"/>
                </a:cubicBezTo>
                <a:cubicBezTo>
                  <a:pt x="24401" y="85778"/>
                  <a:pt x="24784" y="85816"/>
                  <a:pt x="24975" y="86008"/>
                </a:cubicBezTo>
                <a:cubicBezTo>
                  <a:pt x="25358" y="86428"/>
                  <a:pt x="25893" y="86581"/>
                  <a:pt x="26390" y="86619"/>
                </a:cubicBezTo>
                <a:cubicBezTo>
                  <a:pt x="26598" y="86619"/>
                  <a:pt x="26598" y="86943"/>
                  <a:pt x="26732" y="86943"/>
                </a:cubicBezTo>
                <a:cubicBezTo>
                  <a:pt x="26770" y="86943"/>
                  <a:pt x="26819" y="86917"/>
                  <a:pt x="26887" y="86849"/>
                </a:cubicBezTo>
                <a:cubicBezTo>
                  <a:pt x="27079" y="87002"/>
                  <a:pt x="27270" y="87040"/>
                  <a:pt x="27499" y="87078"/>
                </a:cubicBezTo>
                <a:cubicBezTo>
                  <a:pt x="27691" y="87117"/>
                  <a:pt x="27844" y="87270"/>
                  <a:pt x="28035" y="87346"/>
                </a:cubicBezTo>
                <a:cubicBezTo>
                  <a:pt x="28226" y="87423"/>
                  <a:pt x="28379" y="87537"/>
                  <a:pt x="28570" y="87576"/>
                </a:cubicBezTo>
                <a:cubicBezTo>
                  <a:pt x="28761" y="87652"/>
                  <a:pt x="28991" y="87652"/>
                  <a:pt x="29220" y="87729"/>
                </a:cubicBezTo>
                <a:cubicBezTo>
                  <a:pt x="29362" y="87764"/>
                  <a:pt x="29503" y="87962"/>
                  <a:pt x="29584" y="87962"/>
                </a:cubicBezTo>
                <a:cubicBezTo>
                  <a:pt x="29591" y="87962"/>
                  <a:pt x="29597" y="87961"/>
                  <a:pt x="29603" y="87958"/>
                </a:cubicBezTo>
                <a:cubicBezTo>
                  <a:pt x="29665" y="87944"/>
                  <a:pt x="29722" y="87938"/>
                  <a:pt x="29775" y="87938"/>
                </a:cubicBezTo>
                <a:cubicBezTo>
                  <a:pt x="30018" y="87938"/>
                  <a:pt x="30187" y="88069"/>
                  <a:pt x="30406" y="88226"/>
                </a:cubicBezTo>
                <a:cubicBezTo>
                  <a:pt x="30712" y="88417"/>
                  <a:pt x="31094" y="88570"/>
                  <a:pt x="31477" y="88646"/>
                </a:cubicBezTo>
                <a:cubicBezTo>
                  <a:pt x="31517" y="88667"/>
                  <a:pt x="31565" y="88673"/>
                  <a:pt x="31616" y="88673"/>
                </a:cubicBezTo>
                <a:cubicBezTo>
                  <a:pt x="31732" y="88673"/>
                  <a:pt x="31867" y="88638"/>
                  <a:pt x="31974" y="88638"/>
                </a:cubicBezTo>
                <a:cubicBezTo>
                  <a:pt x="32002" y="88638"/>
                  <a:pt x="32028" y="88641"/>
                  <a:pt x="32051" y="88646"/>
                </a:cubicBezTo>
                <a:cubicBezTo>
                  <a:pt x="32265" y="88718"/>
                  <a:pt x="32479" y="88956"/>
                  <a:pt x="32600" y="88956"/>
                </a:cubicBezTo>
                <a:cubicBezTo>
                  <a:pt x="32609" y="88956"/>
                  <a:pt x="32617" y="88955"/>
                  <a:pt x="32624" y="88952"/>
                </a:cubicBezTo>
                <a:cubicBezTo>
                  <a:pt x="32691" y="88930"/>
                  <a:pt x="32749" y="88921"/>
                  <a:pt x="32800" y="88921"/>
                </a:cubicBezTo>
                <a:cubicBezTo>
                  <a:pt x="32924" y="88921"/>
                  <a:pt x="33013" y="88975"/>
                  <a:pt x="33121" y="89029"/>
                </a:cubicBezTo>
                <a:cubicBezTo>
                  <a:pt x="33274" y="89105"/>
                  <a:pt x="33580" y="89105"/>
                  <a:pt x="33580" y="89144"/>
                </a:cubicBezTo>
                <a:cubicBezTo>
                  <a:pt x="33580" y="89299"/>
                  <a:pt x="33625" y="89341"/>
                  <a:pt x="33685" y="89341"/>
                </a:cubicBezTo>
                <a:cubicBezTo>
                  <a:pt x="33755" y="89341"/>
                  <a:pt x="33847" y="89284"/>
                  <a:pt x="33916" y="89284"/>
                </a:cubicBezTo>
                <a:cubicBezTo>
                  <a:pt x="33933" y="89284"/>
                  <a:pt x="33949" y="89287"/>
                  <a:pt x="33963" y="89297"/>
                </a:cubicBezTo>
                <a:cubicBezTo>
                  <a:pt x="34099" y="89399"/>
                  <a:pt x="34297" y="89532"/>
                  <a:pt x="34447" y="89532"/>
                </a:cubicBezTo>
                <a:cubicBezTo>
                  <a:pt x="34465" y="89532"/>
                  <a:pt x="34482" y="89530"/>
                  <a:pt x="34498" y="89526"/>
                </a:cubicBezTo>
                <a:cubicBezTo>
                  <a:pt x="34629" y="89482"/>
                  <a:pt x="34754" y="89464"/>
                  <a:pt x="34874" y="89464"/>
                </a:cubicBezTo>
                <a:cubicBezTo>
                  <a:pt x="35173" y="89464"/>
                  <a:pt x="35438" y="89581"/>
                  <a:pt x="35684" y="89717"/>
                </a:cubicBezTo>
                <a:cubicBezTo>
                  <a:pt x="35867" y="89827"/>
                  <a:pt x="36040" y="89875"/>
                  <a:pt x="36206" y="89875"/>
                </a:cubicBezTo>
                <a:cubicBezTo>
                  <a:pt x="36386" y="89875"/>
                  <a:pt x="36557" y="89817"/>
                  <a:pt x="36717" y="89717"/>
                </a:cubicBezTo>
                <a:cubicBezTo>
                  <a:pt x="37023" y="89832"/>
                  <a:pt x="37290" y="89947"/>
                  <a:pt x="37558" y="89985"/>
                </a:cubicBezTo>
                <a:cubicBezTo>
                  <a:pt x="38285" y="89985"/>
                  <a:pt x="38973" y="90176"/>
                  <a:pt x="39700" y="90329"/>
                </a:cubicBezTo>
                <a:cubicBezTo>
                  <a:pt x="40197" y="90406"/>
                  <a:pt x="40732" y="90368"/>
                  <a:pt x="41230" y="90559"/>
                </a:cubicBezTo>
                <a:lnTo>
                  <a:pt x="41306" y="90559"/>
                </a:lnTo>
                <a:cubicBezTo>
                  <a:pt x="41718" y="90507"/>
                  <a:pt x="42129" y="90471"/>
                  <a:pt x="42537" y="90471"/>
                </a:cubicBezTo>
                <a:cubicBezTo>
                  <a:pt x="43039" y="90471"/>
                  <a:pt x="43536" y="90526"/>
                  <a:pt x="44022" y="90674"/>
                </a:cubicBezTo>
                <a:cubicBezTo>
                  <a:pt x="44044" y="90681"/>
                  <a:pt x="44069" y="90684"/>
                  <a:pt x="44095" y="90684"/>
                </a:cubicBezTo>
                <a:cubicBezTo>
                  <a:pt x="44197" y="90684"/>
                  <a:pt x="44320" y="90635"/>
                  <a:pt x="44442" y="90635"/>
                </a:cubicBezTo>
                <a:cubicBezTo>
                  <a:pt x="44817" y="90601"/>
                  <a:pt x="45222" y="90476"/>
                  <a:pt x="45603" y="90476"/>
                </a:cubicBezTo>
                <a:cubicBezTo>
                  <a:pt x="45650" y="90476"/>
                  <a:pt x="45697" y="90478"/>
                  <a:pt x="45743" y="90482"/>
                </a:cubicBezTo>
                <a:cubicBezTo>
                  <a:pt x="45947" y="90508"/>
                  <a:pt x="46146" y="90516"/>
                  <a:pt x="46345" y="90516"/>
                </a:cubicBezTo>
                <a:cubicBezTo>
                  <a:pt x="46741" y="90516"/>
                  <a:pt x="47132" y="90482"/>
                  <a:pt x="47540" y="90482"/>
                </a:cubicBezTo>
                <a:cubicBezTo>
                  <a:pt x="47770" y="90482"/>
                  <a:pt x="47961" y="90444"/>
                  <a:pt x="48190" y="90444"/>
                </a:cubicBezTo>
                <a:cubicBezTo>
                  <a:pt x="48443" y="90486"/>
                  <a:pt x="48696" y="90503"/>
                  <a:pt x="48949" y="90503"/>
                </a:cubicBezTo>
                <a:cubicBezTo>
                  <a:pt x="49385" y="90503"/>
                  <a:pt x="49820" y="90454"/>
                  <a:pt x="50256" y="90406"/>
                </a:cubicBezTo>
                <a:cubicBezTo>
                  <a:pt x="50409" y="90368"/>
                  <a:pt x="50715" y="90406"/>
                  <a:pt x="50791" y="90329"/>
                </a:cubicBezTo>
                <a:cubicBezTo>
                  <a:pt x="50969" y="90181"/>
                  <a:pt x="51182" y="90159"/>
                  <a:pt x="51401" y="90159"/>
                </a:cubicBezTo>
                <a:cubicBezTo>
                  <a:pt x="51490" y="90159"/>
                  <a:pt x="51581" y="90163"/>
                  <a:pt x="51670" y="90163"/>
                </a:cubicBezTo>
                <a:cubicBezTo>
                  <a:pt x="51924" y="90163"/>
                  <a:pt x="52169" y="90133"/>
                  <a:pt x="52359" y="89909"/>
                </a:cubicBezTo>
                <a:cubicBezTo>
                  <a:pt x="52466" y="89957"/>
                  <a:pt x="52568" y="89976"/>
                  <a:pt x="52667" y="89976"/>
                </a:cubicBezTo>
                <a:cubicBezTo>
                  <a:pt x="52957" y="89976"/>
                  <a:pt x="53221" y="89813"/>
                  <a:pt x="53507" y="89756"/>
                </a:cubicBezTo>
                <a:cubicBezTo>
                  <a:pt x="53927" y="89603"/>
                  <a:pt x="54310" y="89450"/>
                  <a:pt x="54730" y="89411"/>
                </a:cubicBezTo>
                <a:cubicBezTo>
                  <a:pt x="55266" y="89373"/>
                  <a:pt x="55801" y="89297"/>
                  <a:pt x="56299" y="88991"/>
                </a:cubicBezTo>
                <a:cubicBezTo>
                  <a:pt x="56604" y="88761"/>
                  <a:pt x="57102" y="88991"/>
                  <a:pt x="57408" y="88646"/>
                </a:cubicBezTo>
                <a:cubicBezTo>
                  <a:pt x="57517" y="88701"/>
                  <a:pt x="57624" y="88725"/>
                  <a:pt x="57728" y="88725"/>
                </a:cubicBezTo>
                <a:cubicBezTo>
                  <a:pt x="57985" y="88725"/>
                  <a:pt x="58222" y="88581"/>
                  <a:pt x="58440" y="88417"/>
                </a:cubicBezTo>
                <a:cubicBezTo>
                  <a:pt x="58536" y="88341"/>
                  <a:pt x="58651" y="88341"/>
                  <a:pt x="58761" y="88341"/>
                </a:cubicBezTo>
                <a:cubicBezTo>
                  <a:pt x="58871" y="88341"/>
                  <a:pt x="58976" y="88341"/>
                  <a:pt x="59052" y="88264"/>
                </a:cubicBezTo>
                <a:cubicBezTo>
                  <a:pt x="59243" y="88073"/>
                  <a:pt x="59473" y="88073"/>
                  <a:pt x="59741" y="87958"/>
                </a:cubicBezTo>
                <a:cubicBezTo>
                  <a:pt x="60276" y="87805"/>
                  <a:pt x="60850" y="87576"/>
                  <a:pt x="61347" y="87308"/>
                </a:cubicBezTo>
                <a:cubicBezTo>
                  <a:pt x="61844" y="87040"/>
                  <a:pt x="62303" y="86811"/>
                  <a:pt x="62839" y="86696"/>
                </a:cubicBezTo>
                <a:cubicBezTo>
                  <a:pt x="63221" y="86619"/>
                  <a:pt x="63565" y="86428"/>
                  <a:pt x="63909" y="86275"/>
                </a:cubicBezTo>
                <a:cubicBezTo>
                  <a:pt x="64101" y="85549"/>
                  <a:pt x="64980" y="85778"/>
                  <a:pt x="65286" y="85204"/>
                </a:cubicBezTo>
                <a:cubicBezTo>
                  <a:pt x="65325" y="85281"/>
                  <a:pt x="65363" y="85357"/>
                  <a:pt x="65439" y="85472"/>
                </a:cubicBezTo>
                <a:cubicBezTo>
                  <a:pt x="65554" y="85281"/>
                  <a:pt x="65669" y="85166"/>
                  <a:pt x="65784" y="85013"/>
                </a:cubicBezTo>
                <a:cubicBezTo>
                  <a:pt x="66204" y="84631"/>
                  <a:pt x="66931" y="84669"/>
                  <a:pt x="67199" y="84057"/>
                </a:cubicBezTo>
                <a:cubicBezTo>
                  <a:pt x="67199" y="84057"/>
                  <a:pt x="67216" y="84074"/>
                  <a:pt x="67238" y="84074"/>
                </a:cubicBezTo>
                <a:cubicBezTo>
                  <a:pt x="67250" y="84074"/>
                  <a:pt x="67262" y="84070"/>
                  <a:pt x="67275" y="84057"/>
                </a:cubicBezTo>
                <a:cubicBezTo>
                  <a:pt x="68002" y="83751"/>
                  <a:pt x="68767" y="83522"/>
                  <a:pt x="69226" y="82833"/>
                </a:cubicBezTo>
                <a:cubicBezTo>
                  <a:pt x="69264" y="82795"/>
                  <a:pt x="69379" y="82795"/>
                  <a:pt x="69417" y="82757"/>
                </a:cubicBezTo>
                <a:cubicBezTo>
                  <a:pt x="69723" y="82451"/>
                  <a:pt x="70335" y="82451"/>
                  <a:pt x="70411" y="81877"/>
                </a:cubicBezTo>
                <a:cubicBezTo>
                  <a:pt x="70411" y="81877"/>
                  <a:pt x="70450" y="81877"/>
                  <a:pt x="70488" y="81839"/>
                </a:cubicBezTo>
                <a:cubicBezTo>
                  <a:pt x="70665" y="81733"/>
                  <a:pt x="70841" y="81528"/>
                  <a:pt x="70958" y="81528"/>
                </a:cubicBezTo>
                <a:cubicBezTo>
                  <a:pt x="70967" y="81528"/>
                  <a:pt x="70976" y="81530"/>
                  <a:pt x="70985" y="81533"/>
                </a:cubicBezTo>
                <a:cubicBezTo>
                  <a:pt x="71032" y="81545"/>
                  <a:pt x="71072" y="81550"/>
                  <a:pt x="71104" y="81550"/>
                </a:cubicBezTo>
                <a:cubicBezTo>
                  <a:pt x="71386" y="81550"/>
                  <a:pt x="71162" y="81150"/>
                  <a:pt x="71367" y="81150"/>
                </a:cubicBezTo>
                <a:cubicBezTo>
                  <a:pt x="71400" y="81150"/>
                  <a:pt x="71433" y="81066"/>
                  <a:pt x="71466" y="81066"/>
                </a:cubicBezTo>
                <a:cubicBezTo>
                  <a:pt x="71471" y="81066"/>
                  <a:pt x="71477" y="81068"/>
                  <a:pt x="71482" y="81074"/>
                </a:cubicBezTo>
                <a:cubicBezTo>
                  <a:pt x="71520" y="81081"/>
                  <a:pt x="71554" y="81085"/>
                  <a:pt x="71586" y="81085"/>
                </a:cubicBezTo>
                <a:cubicBezTo>
                  <a:pt x="71881" y="81085"/>
                  <a:pt x="71960" y="80791"/>
                  <a:pt x="72132" y="80653"/>
                </a:cubicBezTo>
                <a:cubicBezTo>
                  <a:pt x="72477" y="80309"/>
                  <a:pt x="72783" y="79812"/>
                  <a:pt x="73203" y="79620"/>
                </a:cubicBezTo>
                <a:cubicBezTo>
                  <a:pt x="73777" y="79391"/>
                  <a:pt x="73892" y="78664"/>
                  <a:pt x="74504" y="78550"/>
                </a:cubicBezTo>
                <a:cubicBezTo>
                  <a:pt x="74542" y="78550"/>
                  <a:pt x="74542" y="78435"/>
                  <a:pt x="74542" y="78397"/>
                </a:cubicBezTo>
                <a:cubicBezTo>
                  <a:pt x="74657" y="78244"/>
                  <a:pt x="74771" y="78091"/>
                  <a:pt x="74924" y="77938"/>
                </a:cubicBezTo>
                <a:cubicBezTo>
                  <a:pt x="75077" y="77785"/>
                  <a:pt x="75383" y="77785"/>
                  <a:pt x="75345" y="77479"/>
                </a:cubicBezTo>
                <a:cubicBezTo>
                  <a:pt x="75536" y="77479"/>
                  <a:pt x="75727" y="77440"/>
                  <a:pt x="75727" y="77287"/>
                </a:cubicBezTo>
                <a:cubicBezTo>
                  <a:pt x="75727" y="76981"/>
                  <a:pt x="76072" y="77020"/>
                  <a:pt x="76186" y="76867"/>
                </a:cubicBezTo>
                <a:cubicBezTo>
                  <a:pt x="76645" y="76293"/>
                  <a:pt x="77104" y="75758"/>
                  <a:pt x="77563" y="75184"/>
                </a:cubicBezTo>
                <a:cubicBezTo>
                  <a:pt x="77984" y="74610"/>
                  <a:pt x="78596" y="74189"/>
                  <a:pt x="78940" y="73501"/>
                </a:cubicBezTo>
                <a:cubicBezTo>
                  <a:pt x="79093" y="73157"/>
                  <a:pt x="79514" y="72966"/>
                  <a:pt x="79552" y="72507"/>
                </a:cubicBezTo>
                <a:cubicBezTo>
                  <a:pt x="79973" y="72430"/>
                  <a:pt x="80088" y="72009"/>
                  <a:pt x="80279" y="71742"/>
                </a:cubicBezTo>
                <a:cubicBezTo>
                  <a:pt x="80699" y="71245"/>
                  <a:pt x="80967" y="70594"/>
                  <a:pt x="81464" y="70097"/>
                </a:cubicBezTo>
                <a:cubicBezTo>
                  <a:pt x="81617" y="69944"/>
                  <a:pt x="81656" y="69753"/>
                  <a:pt x="81732" y="69562"/>
                </a:cubicBezTo>
                <a:cubicBezTo>
                  <a:pt x="81809" y="69409"/>
                  <a:pt x="81847" y="69218"/>
                  <a:pt x="81962" y="69103"/>
                </a:cubicBezTo>
                <a:cubicBezTo>
                  <a:pt x="82229" y="68644"/>
                  <a:pt x="82306" y="68032"/>
                  <a:pt x="82803" y="67688"/>
                </a:cubicBezTo>
                <a:cubicBezTo>
                  <a:pt x="82841" y="67688"/>
                  <a:pt x="82803" y="67573"/>
                  <a:pt x="82841" y="67535"/>
                </a:cubicBezTo>
                <a:cubicBezTo>
                  <a:pt x="82956" y="67343"/>
                  <a:pt x="82573" y="67037"/>
                  <a:pt x="83071" y="66884"/>
                </a:cubicBezTo>
                <a:cubicBezTo>
                  <a:pt x="83224" y="66846"/>
                  <a:pt x="83300" y="66426"/>
                  <a:pt x="83377" y="66196"/>
                </a:cubicBezTo>
                <a:cubicBezTo>
                  <a:pt x="83491" y="65928"/>
                  <a:pt x="83606" y="65661"/>
                  <a:pt x="83683" y="65393"/>
                </a:cubicBezTo>
                <a:cubicBezTo>
                  <a:pt x="83721" y="65202"/>
                  <a:pt x="83683" y="64972"/>
                  <a:pt x="83797" y="64819"/>
                </a:cubicBezTo>
                <a:cubicBezTo>
                  <a:pt x="84142" y="64475"/>
                  <a:pt x="84218" y="64016"/>
                  <a:pt x="84371" y="63595"/>
                </a:cubicBezTo>
                <a:cubicBezTo>
                  <a:pt x="84562" y="63136"/>
                  <a:pt x="84983" y="62830"/>
                  <a:pt x="84907" y="62257"/>
                </a:cubicBezTo>
                <a:cubicBezTo>
                  <a:pt x="85518" y="61607"/>
                  <a:pt x="85442" y="60650"/>
                  <a:pt x="85939" y="59962"/>
                </a:cubicBezTo>
                <a:cubicBezTo>
                  <a:pt x="85977" y="59885"/>
                  <a:pt x="85901" y="59732"/>
                  <a:pt x="85939" y="59656"/>
                </a:cubicBezTo>
                <a:cubicBezTo>
                  <a:pt x="85939" y="59541"/>
                  <a:pt x="85977" y="59388"/>
                  <a:pt x="86016" y="59312"/>
                </a:cubicBezTo>
                <a:cubicBezTo>
                  <a:pt x="86398" y="58776"/>
                  <a:pt x="86475" y="58203"/>
                  <a:pt x="86589" y="57591"/>
                </a:cubicBezTo>
                <a:cubicBezTo>
                  <a:pt x="86589" y="57438"/>
                  <a:pt x="86704" y="57285"/>
                  <a:pt x="86781" y="57170"/>
                </a:cubicBezTo>
                <a:cubicBezTo>
                  <a:pt x="86857" y="57055"/>
                  <a:pt x="86934" y="56941"/>
                  <a:pt x="86934" y="56864"/>
                </a:cubicBezTo>
                <a:cubicBezTo>
                  <a:pt x="86819" y="56367"/>
                  <a:pt x="87087" y="55908"/>
                  <a:pt x="87125" y="55449"/>
                </a:cubicBezTo>
                <a:cubicBezTo>
                  <a:pt x="87201" y="54761"/>
                  <a:pt x="87469" y="54110"/>
                  <a:pt x="87622" y="53422"/>
                </a:cubicBezTo>
                <a:cubicBezTo>
                  <a:pt x="87737" y="52772"/>
                  <a:pt x="87966" y="52122"/>
                  <a:pt x="87928" y="51471"/>
                </a:cubicBezTo>
                <a:cubicBezTo>
                  <a:pt x="87928" y="51165"/>
                  <a:pt x="88004" y="50859"/>
                  <a:pt x="88081" y="50553"/>
                </a:cubicBezTo>
                <a:cubicBezTo>
                  <a:pt x="88157" y="50286"/>
                  <a:pt x="88272" y="49980"/>
                  <a:pt x="88310" y="49712"/>
                </a:cubicBezTo>
                <a:cubicBezTo>
                  <a:pt x="88349" y="49406"/>
                  <a:pt x="88425" y="49024"/>
                  <a:pt x="88310" y="48832"/>
                </a:cubicBezTo>
                <a:cubicBezTo>
                  <a:pt x="88081" y="48488"/>
                  <a:pt x="88425" y="48297"/>
                  <a:pt x="88387" y="47991"/>
                </a:cubicBezTo>
                <a:cubicBezTo>
                  <a:pt x="88272" y="47303"/>
                  <a:pt x="88349" y="46576"/>
                  <a:pt x="88425" y="45849"/>
                </a:cubicBezTo>
                <a:cubicBezTo>
                  <a:pt x="88463" y="45390"/>
                  <a:pt x="88463" y="44970"/>
                  <a:pt x="88502" y="44511"/>
                </a:cubicBezTo>
                <a:cubicBezTo>
                  <a:pt x="88540" y="43554"/>
                  <a:pt x="88425" y="42598"/>
                  <a:pt x="88463" y="41604"/>
                </a:cubicBezTo>
                <a:cubicBezTo>
                  <a:pt x="88502" y="41413"/>
                  <a:pt x="88425" y="41221"/>
                  <a:pt x="88425" y="41030"/>
                </a:cubicBezTo>
                <a:cubicBezTo>
                  <a:pt x="88425" y="40304"/>
                  <a:pt x="88463" y="39539"/>
                  <a:pt x="88425" y="38774"/>
                </a:cubicBezTo>
                <a:cubicBezTo>
                  <a:pt x="88425" y="38391"/>
                  <a:pt x="88157" y="37932"/>
                  <a:pt x="88272" y="37626"/>
                </a:cubicBezTo>
                <a:cubicBezTo>
                  <a:pt x="88463" y="37129"/>
                  <a:pt x="87966" y="36708"/>
                  <a:pt x="88234" y="36249"/>
                </a:cubicBezTo>
                <a:cubicBezTo>
                  <a:pt x="88043" y="36020"/>
                  <a:pt x="87813" y="35829"/>
                  <a:pt x="87966" y="35446"/>
                </a:cubicBezTo>
                <a:cubicBezTo>
                  <a:pt x="88043" y="35179"/>
                  <a:pt x="87737" y="34911"/>
                  <a:pt x="87775" y="34567"/>
                </a:cubicBezTo>
                <a:cubicBezTo>
                  <a:pt x="87775" y="34108"/>
                  <a:pt x="87584" y="33610"/>
                  <a:pt x="87316" y="33228"/>
                </a:cubicBezTo>
                <a:cubicBezTo>
                  <a:pt x="87010" y="32731"/>
                  <a:pt x="86895" y="32157"/>
                  <a:pt x="86704" y="31622"/>
                </a:cubicBezTo>
                <a:cubicBezTo>
                  <a:pt x="86551" y="31239"/>
                  <a:pt x="86589" y="30704"/>
                  <a:pt x="86322" y="30398"/>
                </a:cubicBezTo>
                <a:cubicBezTo>
                  <a:pt x="86054" y="30092"/>
                  <a:pt x="85939" y="29786"/>
                  <a:pt x="85863" y="29403"/>
                </a:cubicBezTo>
                <a:cubicBezTo>
                  <a:pt x="85824" y="29097"/>
                  <a:pt x="85557" y="28868"/>
                  <a:pt x="85557" y="28524"/>
                </a:cubicBezTo>
                <a:cubicBezTo>
                  <a:pt x="85557" y="28409"/>
                  <a:pt x="85404" y="28294"/>
                  <a:pt x="85327" y="28180"/>
                </a:cubicBezTo>
                <a:cubicBezTo>
                  <a:pt x="85289" y="28103"/>
                  <a:pt x="85174" y="28065"/>
                  <a:pt x="85136" y="27988"/>
                </a:cubicBezTo>
                <a:cubicBezTo>
                  <a:pt x="85098" y="27797"/>
                  <a:pt x="85021" y="27568"/>
                  <a:pt x="84945" y="27376"/>
                </a:cubicBezTo>
                <a:cubicBezTo>
                  <a:pt x="84868" y="27185"/>
                  <a:pt x="84754" y="27032"/>
                  <a:pt x="84677" y="26803"/>
                </a:cubicBezTo>
                <a:cubicBezTo>
                  <a:pt x="84601" y="26611"/>
                  <a:pt x="84562" y="26229"/>
                  <a:pt x="84448" y="26229"/>
                </a:cubicBezTo>
                <a:cubicBezTo>
                  <a:pt x="84065" y="26152"/>
                  <a:pt x="84371" y="25847"/>
                  <a:pt x="84180" y="25694"/>
                </a:cubicBezTo>
                <a:cubicBezTo>
                  <a:pt x="84065" y="25579"/>
                  <a:pt x="84103" y="25273"/>
                  <a:pt x="83989" y="25235"/>
                </a:cubicBezTo>
                <a:cubicBezTo>
                  <a:pt x="83797" y="25082"/>
                  <a:pt x="83797" y="24929"/>
                  <a:pt x="83721" y="24737"/>
                </a:cubicBezTo>
                <a:cubicBezTo>
                  <a:pt x="83683" y="24508"/>
                  <a:pt x="83530" y="24355"/>
                  <a:pt x="83415" y="24164"/>
                </a:cubicBezTo>
                <a:cubicBezTo>
                  <a:pt x="83185" y="23743"/>
                  <a:pt x="82956" y="23284"/>
                  <a:pt x="82726" y="22863"/>
                </a:cubicBezTo>
                <a:cubicBezTo>
                  <a:pt x="82994" y="22596"/>
                  <a:pt x="82497" y="22481"/>
                  <a:pt x="82535" y="22251"/>
                </a:cubicBezTo>
                <a:cubicBezTo>
                  <a:pt x="82229" y="22251"/>
                  <a:pt x="82421" y="21907"/>
                  <a:pt x="82306" y="21831"/>
                </a:cubicBezTo>
                <a:cubicBezTo>
                  <a:pt x="82115" y="21716"/>
                  <a:pt x="82076" y="21563"/>
                  <a:pt x="82000" y="21410"/>
                </a:cubicBezTo>
                <a:cubicBezTo>
                  <a:pt x="81770" y="21028"/>
                  <a:pt x="81694" y="20530"/>
                  <a:pt x="81235" y="20377"/>
                </a:cubicBezTo>
                <a:cubicBezTo>
                  <a:pt x="81158" y="20339"/>
                  <a:pt x="81082" y="20263"/>
                  <a:pt x="81082" y="20224"/>
                </a:cubicBezTo>
                <a:cubicBezTo>
                  <a:pt x="80891" y="19498"/>
                  <a:pt x="80432" y="18962"/>
                  <a:pt x="79973" y="18427"/>
                </a:cubicBezTo>
                <a:cubicBezTo>
                  <a:pt x="79629" y="18044"/>
                  <a:pt x="79514" y="17471"/>
                  <a:pt x="78978" y="17279"/>
                </a:cubicBezTo>
                <a:cubicBezTo>
                  <a:pt x="78711" y="16591"/>
                  <a:pt x="78022" y="16209"/>
                  <a:pt x="77678" y="15597"/>
                </a:cubicBezTo>
                <a:cubicBezTo>
                  <a:pt x="77640" y="15444"/>
                  <a:pt x="77602" y="15252"/>
                  <a:pt x="77525" y="15176"/>
                </a:cubicBezTo>
                <a:cubicBezTo>
                  <a:pt x="77104" y="14793"/>
                  <a:pt x="76569" y="14564"/>
                  <a:pt x="76378" y="13952"/>
                </a:cubicBezTo>
                <a:cubicBezTo>
                  <a:pt x="75727" y="13608"/>
                  <a:pt x="75269" y="12996"/>
                  <a:pt x="74695" y="12575"/>
                </a:cubicBezTo>
                <a:cubicBezTo>
                  <a:pt x="73509" y="11657"/>
                  <a:pt x="72438" y="10625"/>
                  <a:pt x="71291" y="9668"/>
                </a:cubicBezTo>
                <a:cubicBezTo>
                  <a:pt x="71061" y="9477"/>
                  <a:pt x="70908" y="9209"/>
                  <a:pt x="70641" y="9057"/>
                </a:cubicBezTo>
                <a:cubicBezTo>
                  <a:pt x="69991" y="8598"/>
                  <a:pt x="69417" y="8024"/>
                  <a:pt x="68652" y="7718"/>
                </a:cubicBezTo>
                <a:cubicBezTo>
                  <a:pt x="68040" y="7412"/>
                  <a:pt x="67505" y="6915"/>
                  <a:pt x="66893" y="6609"/>
                </a:cubicBezTo>
                <a:cubicBezTo>
                  <a:pt x="66281" y="6303"/>
                  <a:pt x="65707" y="5882"/>
                  <a:pt x="65019" y="5806"/>
                </a:cubicBezTo>
                <a:cubicBezTo>
                  <a:pt x="64766" y="5774"/>
                  <a:pt x="64539" y="5586"/>
                  <a:pt x="64253" y="5586"/>
                </a:cubicBezTo>
                <a:cubicBezTo>
                  <a:pt x="64192" y="5586"/>
                  <a:pt x="64129" y="5594"/>
                  <a:pt x="64062" y="5614"/>
                </a:cubicBezTo>
                <a:lnTo>
                  <a:pt x="64062" y="4811"/>
                </a:lnTo>
                <a:cubicBezTo>
                  <a:pt x="63871" y="5041"/>
                  <a:pt x="63756" y="5194"/>
                  <a:pt x="63718" y="5270"/>
                </a:cubicBezTo>
                <a:cubicBezTo>
                  <a:pt x="63259" y="5079"/>
                  <a:pt x="62877" y="5002"/>
                  <a:pt x="62494" y="4811"/>
                </a:cubicBezTo>
                <a:cubicBezTo>
                  <a:pt x="62150" y="4620"/>
                  <a:pt x="61806" y="4314"/>
                  <a:pt x="61500" y="4085"/>
                </a:cubicBezTo>
                <a:cubicBezTo>
                  <a:pt x="61349" y="4192"/>
                  <a:pt x="61283" y="4239"/>
                  <a:pt x="61241" y="4239"/>
                </a:cubicBezTo>
                <a:cubicBezTo>
                  <a:pt x="61208" y="4239"/>
                  <a:pt x="61189" y="4211"/>
                  <a:pt x="61156" y="4161"/>
                </a:cubicBezTo>
                <a:cubicBezTo>
                  <a:pt x="61118" y="4123"/>
                  <a:pt x="61041" y="4008"/>
                  <a:pt x="61003" y="4008"/>
                </a:cubicBezTo>
                <a:cubicBezTo>
                  <a:pt x="60937" y="4036"/>
                  <a:pt x="60879" y="4048"/>
                  <a:pt x="60825" y="4048"/>
                </a:cubicBezTo>
                <a:cubicBezTo>
                  <a:pt x="60658" y="4048"/>
                  <a:pt x="60535" y="3932"/>
                  <a:pt x="60391" y="3817"/>
                </a:cubicBezTo>
                <a:cubicBezTo>
                  <a:pt x="60276" y="3702"/>
                  <a:pt x="60161" y="3587"/>
                  <a:pt x="60047" y="3549"/>
                </a:cubicBezTo>
                <a:cubicBezTo>
                  <a:pt x="58976" y="3205"/>
                  <a:pt x="57905" y="2899"/>
                  <a:pt x="56910" y="2325"/>
                </a:cubicBezTo>
                <a:cubicBezTo>
                  <a:pt x="56834" y="2249"/>
                  <a:pt x="56719" y="2210"/>
                  <a:pt x="56643" y="2210"/>
                </a:cubicBezTo>
                <a:cubicBezTo>
                  <a:pt x="56069" y="2172"/>
                  <a:pt x="55534" y="1981"/>
                  <a:pt x="54960" y="1828"/>
                </a:cubicBezTo>
                <a:cubicBezTo>
                  <a:pt x="54271" y="1637"/>
                  <a:pt x="53507" y="1675"/>
                  <a:pt x="52895" y="1254"/>
                </a:cubicBezTo>
                <a:cubicBezTo>
                  <a:pt x="52862" y="1235"/>
                  <a:pt x="52829" y="1227"/>
                  <a:pt x="52797" y="1227"/>
                </a:cubicBezTo>
                <a:cubicBezTo>
                  <a:pt x="52701" y="1227"/>
                  <a:pt x="52607" y="1291"/>
                  <a:pt x="52519" y="1291"/>
                </a:cubicBezTo>
                <a:cubicBezTo>
                  <a:pt x="52463" y="1291"/>
                  <a:pt x="52409" y="1265"/>
                  <a:pt x="52359" y="1178"/>
                </a:cubicBezTo>
                <a:cubicBezTo>
                  <a:pt x="52289" y="1073"/>
                  <a:pt x="52212" y="1048"/>
                  <a:pt x="52130" y="1048"/>
                </a:cubicBezTo>
                <a:cubicBezTo>
                  <a:pt x="52054" y="1048"/>
                  <a:pt x="51974" y="1070"/>
                  <a:pt x="51894" y="1070"/>
                </a:cubicBezTo>
                <a:cubicBezTo>
                  <a:pt x="51871" y="1070"/>
                  <a:pt x="51847" y="1068"/>
                  <a:pt x="51824" y="1063"/>
                </a:cubicBezTo>
                <a:cubicBezTo>
                  <a:pt x="51288" y="948"/>
                  <a:pt x="50715" y="1063"/>
                  <a:pt x="50179" y="834"/>
                </a:cubicBezTo>
                <a:cubicBezTo>
                  <a:pt x="49988" y="757"/>
                  <a:pt x="49797" y="719"/>
                  <a:pt x="49605" y="719"/>
                </a:cubicBezTo>
                <a:cubicBezTo>
                  <a:pt x="49423" y="693"/>
                  <a:pt x="49240" y="631"/>
                  <a:pt x="49081" y="631"/>
                </a:cubicBezTo>
                <a:cubicBezTo>
                  <a:pt x="49008" y="631"/>
                  <a:pt x="48939" y="644"/>
                  <a:pt x="48879" y="681"/>
                </a:cubicBezTo>
                <a:cubicBezTo>
                  <a:pt x="48794" y="723"/>
                  <a:pt x="48720" y="741"/>
                  <a:pt x="48654" y="741"/>
                </a:cubicBezTo>
                <a:cubicBezTo>
                  <a:pt x="48426" y="741"/>
                  <a:pt x="48301" y="523"/>
                  <a:pt x="48152" y="375"/>
                </a:cubicBezTo>
                <a:cubicBezTo>
                  <a:pt x="47876" y="548"/>
                  <a:pt x="47607" y="611"/>
                  <a:pt x="47339" y="611"/>
                </a:cubicBezTo>
                <a:cubicBezTo>
                  <a:pt x="47014" y="611"/>
                  <a:pt x="46690" y="518"/>
                  <a:pt x="46355" y="413"/>
                </a:cubicBezTo>
                <a:cubicBezTo>
                  <a:pt x="45691" y="192"/>
                  <a:pt x="45027" y="81"/>
                  <a:pt x="44353" y="81"/>
                </a:cubicBezTo>
                <a:cubicBezTo>
                  <a:pt x="43978" y="81"/>
                  <a:pt x="43601" y="115"/>
                  <a:pt x="43218" y="183"/>
                </a:cubicBezTo>
                <a:cubicBezTo>
                  <a:pt x="43164" y="210"/>
                  <a:pt x="43053" y="238"/>
                  <a:pt x="42979" y="238"/>
                </a:cubicBezTo>
                <a:cubicBezTo>
                  <a:pt x="42948" y="238"/>
                  <a:pt x="42924" y="233"/>
                  <a:pt x="42912" y="222"/>
                </a:cubicBezTo>
                <a:cubicBezTo>
                  <a:pt x="42717" y="62"/>
                  <a:pt x="42521" y="1"/>
                  <a:pt x="42321" y="1"/>
                </a:cubicBezTo>
                <a:close/>
              </a:path>
            </a:pathLst>
          </a:custGeom>
          <a:solidFill>
            <a:schemeClr val="tx1">
              <a:alpha val="5475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9" name="Google Shape;49;p15"/>
          <p:cNvSpPr/>
          <p:nvPr/>
        </p:nvSpPr>
        <p:spPr>
          <a:xfrm>
            <a:off x="1277499" y="5993511"/>
            <a:ext cx="1095" cy="28"/>
          </a:xfrm>
          <a:custGeom>
            <a:avLst/>
            <a:gdLst/>
            <a:ahLst/>
            <a:cxnLst/>
            <a:rect l="l" t="t" r="r" b="b"/>
            <a:pathLst>
              <a:path w="40" h="1" extrusionOk="0">
                <a:moveTo>
                  <a:pt x="1" y="1"/>
                </a:moveTo>
                <a:cubicBezTo>
                  <a:pt x="1" y="1"/>
                  <a:pt x="39" y="1"/>
                  <a:pt x="39" y="1"/>
                </a:cubicBezTo>
                <a:cubicBezTo>
                  <a:pt x="39" y="1"/>
                  <a:pt x="39" y="1"/>
                  <a:pt x="39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DEDC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0" name="Google Shape;50;p15"/>
          <p:cNvSpPr/>
          <p:nvPr/>
        </p:nvSpPr>
        <p:spPr>
          <a:xfrm>
            <a:off x="-6267" y="3359803"/>
            <a:ext cx="2121865" cy="2746719"/>
          </a:xfrm>
          <a:custGeom>
            <a:avLst/>
            <a:gdLst/>
            <a:ahLst/>
            <a:cxnLst/>
            <a:rect l="l" t="t" r="r" b="b"/>
            <a:pathLst>
              <a:path w="77563" h="100404" extrusionOk="0">
                <a:moveTo>
                  <a:pt x="24150" y="1"/>
                </a:moveTo>
                <a:cubicBezTo>
                  <a:pt x="24068" y="1"/>
                  <a:pt x="23986" y="3"/>
                  <a:pt x="23904" y="9"/>
                </a:cubicBezTo>
                <a:cubicBezTo>
                  <a:pt x="23101" y="95"/>
                  <a:pt x="22276" y="138"/>
                  <a:pt x="21462" y="138"/>
                </a:cubicBezTo>
                <a:cubicBezTo>
                  <a:pt x="21191" y="138"/>
                  <a:pt x="20921" y="133"/>
                  <a:pt x="20653" y="123"/>
                </a:cubicBezTo>
                <a:cubicBezTo>
                  <a:pt x="20583" y="109"/>
                  <a:pt x="20508" y="101"/>
                  <a:pt x="20437" y="101"/>
                </a:cubicBezTo>
                <a:cubicBezTo>
                  <a:pt x="20314" y="101"/>
                  <a:pt x="20204" y="127"/>
                  <a:pt x="20156" y="200"/>
                </a:cubicBezTo>
                <a:cubicBezTo>
                  <a:pt x="19970" y="365"/>
                  <a:pt x="19762" y="396"/>
                  <a:pt x="19556" y="396"/>
                </a:cubicBezTo>
                <a:cubicBezTo>
                  <a:pt x="19429" y="396"/>
                  <a:pt x="19302" y="384"/>
                  <a:pt x="19182" y="384"/>
                </a:cubicBezTo>
                <a:cubicBezTo>
                  <a:pt x="19136" y="384"/>
                  <a:pt x="19090" y="386"/>
                  <a:pt x="19046" y="391"/>
                </a:cubicBezTo>
                <a:cubicBezTo>
                  <a:pt x="18626" y="468"/>
                  <a:pt x="18243" y="468"/>
                  <a:pt x="17861" y="659"/>
                </a:cubicBezTo>
                <a:cubicBezTo>
                  <a:pt x="17784" y="735"/>
                  <a:pt x="17631" y="697"/>
                  <a:pt x="17517" y="735"/>
                </a:cubicBezTo>
                <a:cubicBezTo>
                  <a:pt x="16866" y="812"/>
                  <a:pt x="16178" y="1003"/>
                  <a:pt x="15528" y="1041"/>
                </a:cubicBezTo>
                <a:cubicBezTo>
                  <a:pt x="15214" y="1073"/>
                  <a:pt x="14926" y="1310"/>
                  <a:pt x="14601" y="1310"/>
                </a:cubicBezTo>
                <a:cubicBezTo>
                  <a:pt x="14529" y="1310"/>
                  <a:pt x="14456" y="1298"/>
                  <a:pt x="14380" y="1271"/>
                </a:cubicBezTo>
                <a:cubicBezTo>
                  <a:pt x="14075" y="1653"/>
                  <a:pt x="13616" y="1462"/>
                  <a:pt x="13271" y="1615"/>
                </a:cubicBezTo>
                <a:cubicBezTo>
                  <a:pt x="13195" y="1653"/>
                  <a:pt x="13123" y="1670"/>
                  <a:pt x="13055" y="1670"/>
                </a:cubicBezTo>
                <a:cubicBezTo>
                  <a:pt x="12919" y="1670"/>
                  <a:pt x="12800" y="1602"/>
                  <a:pt x="12698" y="1500"/>
                </a:cubicBezTo>
                <a:cubicBezTo>
                  <a:pt x="12620" y="1391"/>
                  <a:pt x="12554" y="1345"/>
                  <a:pt x="12499" y="1345"/>
                </a:cubicBezTo>
                <a:cubicBezTo>
                  <a:pt x="12419" y="1345"/>
                  <a:pt x="12360" y="1441"/>
                  <a:pt x="12315" y="1577"/>
                </a:cubicBezTo>
                <a:cubicBezTo>
                  <a:pt x="12162" y="1883"/>
                  <a:pt x="11933" y="2036"/>
                  <a:pt x="11589" y="2036"/>
                </a:cubicBezTo>
                <a:cubicBezTo>
                  <a:pt x="11397" y="2036"/>
                  <a:pt x="11206" y="2112"/>
                  <a:pt x="11053" y="2189"/>
                </a:cubicBezTo>
                <a:cubicBezTo>
                  <a:pt x="11015" y="2189"/>
                  <a:pt x="11015" y="2303"/>
                  <a:pt x="10977" y="2380"/>
                </a:cubicBezTo>
                <a:cubicBezTo>
                  <a:pt x="10938" y="2342"/>
                  <a:pt x="10900" y="2303"/>
                  <a:pt x="10862" y="2265"/>
                </a:cubicBezTo>
                <a:cubicBezTo>
                  <a:pt x="10777" y="2053"/>
                  <a:pt x="10727" y="1946"/>
                  <a:pt x="10654" y="1946"/>
                </a:cubicBezTo>
                <a:cubicBezTo>
                  <a:pt x="10596" y="1946"/>
                  <a:pt x="10522" y="2014"/>
                  <a:pt x="10403" y="2150"/>
                </a:cubicBezTo>
                <a:cubicBezTo>
                  <a:pt x="10288" y="2303"/>
                  <a:pt x="10212" y="2456"/>
                  <a:pt x="10059" y="2571"/>
                </a:cubicBezTo>
                <a:cubicBezTo>
                  <a:pt x="10020" y="2648"/>
                  <a:pt x="9867" y="2686"/>
                  <a:pt x="9829" y="2686"/>
                </a:cubicBezTo>
                <a:cubicBezTo>
                  <a:pt x="9711" y="2582"/>
                  <a:pt x="9604" y="2536"/>
                  <a:pt x="9503" y="2536"/>
                </a:cubicBezTo>
                <a:cubicBezTo>
                  <a:pt x="9345" y="2536"/>
                  <a:pt x="9205" y="2651"/>
                  <a:pt x="9064" y="2839"/>
                </a:cubicBezTo>
                <a:cubicBezTo>
                  <a:pt x="9064" y="2850"/>
                  <a:pt x="9051" y="2855"/>
                  <a:pt x="9032" y="2855"/>
                </a:cubicBezTo>
                <a:cubicBezTo>
                  <a:pt x="8985" y="2855"/>
                  <a:pt x="8900" y="2828"/>
                  <a:pt x="8873" y="2801"/>
                </a:cubicBezTo>
                <a:cubicBezTo>
                  <a:pt x="8827" y="2739"/>
                  <a:pt x="8781" y="2715"/>
                  <a:pt x="8735" y="2715"/>
                </a:cubicBezTo>
                <a:cubicBezTo>
                  <a:pt x="8667" y="2715"/>
                  <a:pt x="8598" y="2770"/>
                  <a:pt x="8529" y="2839"/>
                </a:cubicBezTo>
                <a:cubicBezTo>
                  <a:pt x="8414" y="2954"/>
                  <a:pt x="8261" y="3030"/>
                  <a:pt x="8108" y="3107"/>
                </a:cubicBezTo>
                <a:cubicBezTo>
                  <a:pt x="7496" y="3260"/>
                  <a:pt x="6961" y="3527"/>
                  <a:pt x="6464" y="3872"/>
                </a:cubicBezTo>
                <a:cubicBezTo>
                  <a:pt x="6451" y="3884"/>
                  <a:pt x="6430" y="3889"/>
                  <a:pt x="6403" y="3889"/>
                </a:cubicBezTo>
                <a:cubicBezTo>
                  <a:pt x="6349" y="3889"/>
                  <a:pt x="6272" y="3872"/>
                  <a:pt x="6196" y="3872"/>
                </a:cubicBezTo>
                <a:cubicBezTo>
                  <a:pt x="6158" y="3833"/>
                  <a:pt x="6005" y="3833"/>
                  <a:pt x="6005" y="3833"/>
                </a:cubicBezTo>
                <a:cubicBezTo>
                  <a:pt x="5890" y="4216"/>
                  <a:pt x="5546" y="4139"/>
                  <a:pt x="5278" y="4254"/>
                </a:cubicBezTo>
                <a:cubicBezTo>
                  <a:pt x="4857" y="4445"/>
                  <a:pt x="4551" y="4789"/>
                  <a:pt x="4054" y="4904"/>
                </a:cubicBezTo>
                <a:cubicBezTo>
                  <a:pt x="3863" y="4942"/>
                  <a:pt x="3710" y="5325"/>
                  <a:pt x="3366" y="5325"/>
                </a:cubicBezTo>
                <a:cubicBezTo>
                  <a:pt x="3251" y="5784"/>
                  <a:pt x="2792" y="5516"/>
                  <a:pt x="2562" y="5746"/>
                </a:cubicBezTo>
                <a:cubicBezTo>
                  <a:pt x="2409" y="5899"/>
                  <a:pt x="2218" y="5975"/>
                  <a:pt x="2065" y="6052"/>
                </a:cubicBezTo>
                <a:cubicBezTo>
                  <a:pt x="1798" y="6243"/>
                  <a:pt x="1492" y="6396"/>
                  <a:pt x="1300" y="6625"/>
                </a:cubicBezTo>
                <a:cubicBezTo>
                  <a:pt x="1071" y="6855"/>
                  <a:pt x="727" y="6855"/>
                  <a:pt x="459" y="6969"/>
                </a:cubicBezTo>
                <a:cubicBezTo>
                  <a:pt x="306" y="7046"/>
                  <a:pt x="153" y="7161"/>
                  <a:pt x="0" y="7237"/>
                </a:cubicBezTo>
                <a:lnTo>
                  <a:pt x="0" y="92143"/>
                </a:lnTo>
                <a:cubicBezTo>
                  <a:pt x="344" y="92449"/>
                  <a:pt x="688" y="92679"/>
                  <a:pt x="1147" y="92870"/>
                </a:cubicBezTo>
                <a:cubicBezTo>
                  <a:pt x="1453" y="92947"/>
                  <a:pt x="1721" y="93214"/>
                  <a:pt x="2065" y="93329"/>
                </a:cubicBezTo>
                <a:cubicBezTo>
                  <a:pt x="2333" y="93444"/>
                  <a:pt x="2601" y="93635"/>
                  <a:pt x="2868" y="93788"/>
                </a:cubicBezTo>
                <a:cubicBezTo>
                  <a:pt x="3213" y="93979"/>
                  <a:pt x="3672" y="93979"/>
                  <a:pt x="3939" y="94362"/>
                </a:cubicBezTo>
                <a:cubicBezTo>
                  <a:pt x="3978" y="94354"/>
                  <a:pt x="4015" y="94350"/>
                  <a:pt x="4051" y="94350"/>
                </a:cubicBezTo>
                <a:cubicBezTo>
                  <a:pt x="4493" y="94350"/>
                  <a:pt x="4756" y="94888"/>
                  <a:pt x="5207" y="94888"/>
                </a:cubicBezTo>
                <a:cubicBezTo>
                  <a:pt x="5265" y="94888"/>
                  <a:pt x="5327" y="94879"/>
                  <a:pt x="5393" y="94859"/>
                </a:cubicBezTo>
                <a:cubicBezTo>
                  <a:pt x="5775" y="95356"/>
                  <a:pt x="6425" y="95318"/>
                  <a:pt x="6846" y="95624"/>
                </a:cubicBezTo>
                <a:cubicBezTo>
                  <a:pt x="7114" y="95853"/>
                  <a:pt x="7534" y="95662"/>
                  <a:pt x="7726" y="95930"/>
                </a:cubicBezTo>
                <a:cubicBezTo>
                  <a:pt x="7955" y="96236"/>
                  <a:pt x="8261" y="96197"/>
                  <a:pt x="8529" y="96389"/>
                </a:cubicBezTo>
                <a:cubicBezTo>
                  <a:pt x="8644" y="96427"/>
                  <a:pt x="8835" y="96389"/>
                  <a:pt x="8988" y="96465"/>
                </a:cubicBezTo>
                <a:cubicBezTo>
                  <a:pt x="9103" y="96503"/>
                  <a:pt x="9141" y="96695"/>
                  <a:pt x="9256" y="96733"/>
                </a:cubicBezTo>
                <a:cubicBezTo>
                  <a:pt x="9465" y="96872"/>
                  <a:pt x="9706" y="97044"/>
                  <a:pt x="9921" y="97044"/>
                </a:cubicBezTo>
                <a:cubicBezTo>
                  <a:pt x="9942" y="97044"/>
                  <a:pt x="9962" y="97042"/>
                  <a:pt x="9982" y="97039"/>
                </a:cubicBezTo>
                <a:cubicBezTo>
                  <a:pt x="10064" y="97018"/>
                  <a:pt x="10141" y="97009"/>
                  <a:pt x="10212" y="97009"/>
                </a:cubicBezTo>
                <a:cubicBezTo>
                  <a:pt x="10406" y="97009"/>
                  <a:pt x="10559" y="97080"/>
                  <a:pt x="10671" y="97192"/>
                </a:cubicBezTo>
                <a:cubicBezTo>
                  <a:pt x="11206" y="97613"/>
                  <a:pt x="12009" y="97536"/>
                  <a:pt x="12506" y="98071"/>
                </a:cubicBezTo>
                <a:cubicBezTo>
                  <a:pt x="12515" y="98080"/>
                  <a:pt x="12528" y="98083"/>
                  <a:pt x="12544" y="98083"/>
                </a:cubicBezTo>
                <a:cubicBezTo>
                  <a:pt x="12589" y="98083"/>
                  <a:pt x="12659" y="98060"/>
                  <a:pt x="12717" y="98060"/>
                </a:cubicBezTo>
                <a:cubicBezTo>
                  <a:pt x="12738" y="98060"/>
                  <a:pt x="12758" y="98063"/>
                  <a:pt x="12774" y="98071"/>
                </a:cubicBezTo>
                <a:cubicBezTo>
                  <a:pt x="13004" y="98071"/>
                  <a:pt x="13195" y="98071"/>
                  <a:pt x="13386" y="98148"/>
                </a:cubicBezTo>
                <a:cubicBezTo>
                  <a:pt x="14113" y="98492"/>
                  <a:pt x="14839" y="98760"/>
                  <a:pt x="15643" y="98798"/>
                </a:cubicBezTo>
                <a:cubicBezTo>
                  <a:pt x="15910" y="98798"/>
                  <a:pt x="16178" y="98836"/>
                  <a:pt x="16446" y="98913"/>
                </a:cubicBezTo>
                <a:cubicBezTo>
                  <a:pt x="16713" y="98989"/>
                  <a:pt x="16981" y="99181"/>
                  <a:pt x="17249" y="99257"/>
                </a:cubicBezTo>
                <a:cubicBezTo>
                  <a:pt x="17517" y="99334"/>
                  <a:pt x="17861" y="99257"/>
                  <a:pt x="18090" y="99372"/>
                </a:cubicBezTo>
                <a:cubicBezTo>
                  <a:pt x="18626" y="99678"/>
                  <a:pt x="19199" y="99601"/>
                  <a:pt x="19735" y="99716"/>
                </a:cubicBezTo>
                <a:cubicBezTo>
                  <a:pt x="20003" y="99754"/>
                  <a:pt x="20156" y="99831"/>
                  <a:pt x="20347" y="99946"/>
                </a:cubicBezTo>
                <a:cubicBezTo>
                  <a:pt x="20381" y="99968"/>
                  <a:pt x="20415" y="99977"/>
                  <a:pt x="20448" y="99977"/>
                </a:cubicBezTo>
                <a:cubicBezTo>
                  <a:pt x="20604" y="99977"/>
                  <a:pt x="20762" y="99783"/>
                  <a:pt x="20934" y="99783"/>
                </a:cubicBezTo>
                <a:cubicBezTo>
                  <a:pt x="20980" y="99783"/>
                  <a:pt x="21026" y="99797"/>
                  <a:pt x="21074" y="99831"/>
                </a:cubicBezTo>
                <a:cubicBezTo>
                  <a:pt x="21112" y="99850"/>
                  <a:pt x="21169" y="99850"/>
                  <a:pt x="21217" y="99850"/>
                </a:cubicBezTo>
                <a:cubicBezTo>
                  <a:pt x="21265" y="99850"/>
                  <a:pt x="21303" y="99850"/>
                  <a:pt x="21303" y="99869"/>
                </a:cubicBezTo>
                <a:cubicBezTo>
                  <a:pt x="21382" y="100139"/>
                  <a:pt x="21508" y="100218"/>
                  <a:pt x="21652" y="100218"/>
                </a:cubicBezTo>
                <a:cubicBezTo>
                  <a:pt x="21855" y="100218"/>
                  <a:pt x="22096" y="100060"/>
                  <a:pt x="22297" y="100060"/>
                </a:cubicBezTo>
                <a:cubicBezTo>
                  <a:pt x="22399" y="100060"/>
                  <a:pt x="22552" y="100026"/>
                  <a:pt x="22654" y="100026"/>
                </a:cubicBezTo>
                <a:cubicBezTo>
                  <a:pt x="22705" y="100026"/>
                  <a:pt x="22744" y="100035"/>
                  <a:pt x="22756" y="100060"/>
                </a:cubicBezTo>
                <a:cubicBezTo>
                  <a:pt x="22893" y="100197"/>
                  <a:pt x="23030" y="100216"/>
                  <a:pt x="23166" y="100216"/>
                </a:cubicBezTo>
                <a:cubicBezTo>
                  <a:pt x="23221" y="100216"/>
                  <a:pt x="23275" y="100213"/>
                  <a:pt x="23330" y="100213"/>
                </a:cubicBezTo>
                <a:cubicBezTo>
                  <a:pt x="23719" y="100213"/>
                  <a:pt x="24109" y="100375"/>
                  <a:pt x="24513" y="100375"/>
                </a:cubicBezTo>
                <a:cubicBezTo>
                  <a:pt x="24665" y="100375"/>
                  <a:pt x="24818" y="100352"/>
                  <a:pt x="24975" y="100290"/>
                </a:cubicBezTo>
                <a:cubicBezTo>
                  <a:pt x="25111" y="100377"/>
                  <a:pt x="25252" y="100403"/>
                  <a:pt x="25395" y="100403"/>
                </a:cubicBezTo>
                <a:cubicBezTo>
                  <a:pt x="25618" y="100403"/>
                  <a:pt x="25847" y="100339"/>
                  <a:pt x="26078" y="100339"/>
                </a:cubicBezTo>
                <a:cubicBezTo>
                  <a:pt x="26156" y="100339"/>
                  <a:pt x="26235" y="100347"/>
                  <a:pt x="26313" y="100366"/>
                </a:cubicBezTo>
                <a:cubicBezTo>
                  <a:pt x="26405" y="100382"/>
                  <a:pt x="26498" y="100388"/>
                  <a:pt x="26593" y="100388"/>
                </a:cubicBezTo>
                <a:cubicBezTo>
                  <a:pt x="26970" y="100388"/>
                  <a:pt x="27361" y="100290"/>
                  <a:pt x="27728" y="100290"/>
                </a:cubicBezTo>
                <a:cubicBezTo>
                  <a:pt x="28004" y="100290"/>
                  <a:pt x="28279" y="100284"/>
                  <a:pt x="28552" y="100284"/>
                </a:cubicBezTo>
                <a:cubicBezTo>
                  <a:pt x="28961" y="100284"/>
                  <a:pt x="29365" y="100297"/>
                  <a:pt x="29755" y="100366"/>
                </a:cubicBezTo>
                <a:cubicBezTo>
                  <a:pt x="29803" y="100376"/>
                  <a:pt x="29849" y="100380"/>
                  <a:pt x="29892" y="100380"/>
                </a:cubicBezTo>
                <a:cubicBezTo>
                  <a:pt x="30196" y="100380"/>
                  <a:pt x="30406" y="100175"/>
                  <a:pt x="30673" y="100175"/>
                </a:cubicBezTo>
                <a:cubicBezTo>
                  <a:pt x="31362" y="100175"/>
                  <a:pt x="32088" y="99984"/>
                  <a:pt x="32777" y="99984"/>
                </a:cubicBezTo>
                <a:cubicBezTo>
                  <a:pt x="33427" y="99946"/>
                  <a:pt x="34115" y="99984"/>
                  <a:pt x="34727" y="99678"/>
                </a:cubicBezTo>
                <a:cubicBezTo>
                  <a:pt x="34804" y="99678"/>
                  <a:pt x="34919" y="99754"/>
                  <a:pt x="34995" y="99754"/>
                </a:cubicBezTo>
                <a:cubicBezTo>
                  <a:pt x="35072" y="99793"/>
                  <a:pt x="35110" y="99831"/>
                  <a:pt x="35186" y="99869"/>
                </a:cubicBezTo>
                <a:cubicBezTo>
                  <a:pt x="35339" y="99448"/>
                  <a:pt x="35798" y="99640"/>
                  <a:pt x="36066" y="99487"/>
                </a:cubicBezTo>
                <a:cubicBezTo>
                  <a:pt x="36247" y="99396"/>
                  <a:pt x="36441" y="99252"/>
                  <a:pt x="36625" y="99252"/>
                </a:cubicBezTo>
                <a:cubicBezTo>
                  <a:pt x="36752" y="99252"/>
                  <a:pt x="36874" y="99321"/>
                  <a:pt x="36984" y="99525"/>
                </a:cubicBezTo>
                <a:cubicBezTo>
                  <a:pt x="36984" y="99536"/>
                  <a:pt x="37000" y="99541"/>
                  <a:pt x="37025" y="99541"/>
                </a:cubicBezTo>
                <a:cubicBezTo>
                  <a:pt x="37086" y="99541"/>
                  <a:pt x="37197" y="99514"/>
                  <a:pt x="37252" y="99487"/>
                </a:cubicBezTo>
                <a:cubicBezTo>
                  <a:pt x="38131" y="99295"/>
                  <a:pt x="38973" y="99104"/>
                  <a:pt x="39814" y="98875"/>
                </a:cubicBezTo>
                <a:cubicBezTo>
                  <a:pt x="40197" y="98760"/>
                  <a:pt x="40579" y="98645"/>
                  <a:pt x="40923" y="98492"/>
                </a:cubicBezTo>
                <a:cubicBezTo>
                  <a:pt x="41114" y="98416"/>
                  <a:pt x="41267" y="98301"/>
                  <a:pt x="41497" y="98301"/>
                </a:cubicBezTo>
                <a:cubicBezTo>
                  <a:pt x="41688" y="98301"/>
                  <a:pt x="41879" y="98186"/>
                  <a:pt x="42032" y="98110"/>
                </a:cubicBezTo>
                <a:cubicBezTo>
                  <a:pt x="42317" y="97952"/>
                  <a:pt x="42575" y="97689"/>
                  <a:pt x="42915" y="97689"/>
                </a:cubicBezTo>
                <a:cubicBezTo>
                  <a:pt x="42987" y="97689"/>
                  <a:pt x="43062" y="97701"/>
                  <a:pt x="43141" y="97727"/>
                </a:cubicBezTo>
                <a:cubicBezTo>
                  <a:pt x="43180" y="97727"/>
                  <a:pt x="43218" y="97613"/>
                  <a:pt x="43294" y="97574"/>
                </a:cubicBezTo>
                <a:cubicBezTo>
                  <a:pt x="43447" y="97498"/>
                  <a:pt x="43562" y="97421"/>
                  <a:pt x="43715" y="97383"/>
                </a:cubicBezTo>
                <a:cubicBezTo>
                  <a:pt x="43983" y="97268"/>
                  <a:pt x="44251" y="97192"/>
                  <a:pt x="44480" y="97115"/>
                </a:cubicBezTo>
                <a:cubicBezTo>
                  <a:pt x="44686" y="97057"/>
                  <a:pt x="44869" y="96862"/>
                  <a:pt x="45099" y="96862"/>
                </a:cubicBezTo>
                <a:cubicBezTo>
                  <a:pt x="45168" y="96862"/>
                  <a:pt x="45242" y="96880"/>
                  <a:pt x="45321" y="96924"/>
                </a:cubicBezTo>
                <a:cubicBezTo>
                  <a:pt x="45321" y="96932"/>
                  <a:pt x="45326" y="96935"/>
                  <a:pt x="45333" y="96935"/>
                </a:cubicBezTo>
                <a:cubicBezTo>
                  <a:pt x="45361" y="96935"/>
                  <a:pt x="45429" y="96886"/>
                  <a:pt x="45398" y="96886"/>
                </a:cubicBezTo>
                <a:cubicBezTo>
                  <a:pt x="45321" y="96542"/>
                  <a:pt x="45627" y="96618"/>
                  <a:pt x="45780" y="96580"/>
                </a:cubicBezTo>
                <a:cubicBezTo>
                  <a:pt x="45876" y="96542"/>
                  <a:pt x="45972" y="96532"/>
                  <a:pt x="46067" y="96532"/>
                </a:cubicBezTo>
                <a:cubicBezTo>
                  <a:pt x="46163" y="96532"/>
                  <a:pt x="46259" y="96542"/>
                  <a:pt x="46354" y="96542"/>
                </a:cubicBezTo>
                <a:cubicBezTo>
                  <a:pt x="46410" y="96550"/>
                  <a:pt x="46462" y="96554"/>
                  <a:pt x="46511" y="96554"/>
                </a:cubicBezTo>
                <a:cubicBezTo>
                  <a:pt x="46699" y="96554"/>
                  <a:pt x="46845" y="96486"/>
                  <a:pt x="46966" y="96274"/>
                </a:cubicBezTo>
                <a:cubicBezTo>
                  <a:pt x="47157" y="96274"/>
                  <a:pt x="47425" y="96274"/>
                  <a:pt x="47463" y="95968"/>
                </a:cubicBezTo>
                <a:cubicBezTo>
                  <a:pt x="47463" y="95834"/>
                  <a:pt x="47492" y="95786"/>
                  <a:pt x="47540" y="95786"/>
                </a:cubicBezTo>
                <a:cubicBezTo>
                  <a:pt x="47588" y="95786"/>
                  <a:pt x="47654" y="95834"/>
                  <a:pt x="47731" y="95891"/>
                </a:cubicBezTo>
                <a:cubicBezTo>
                  <a:pt x="47753" y="95903"/>
                  <a:pt x="47779" y="95907"/>
                  <a:pt x="47807" y="95907"/>
                </a:cubicBezTo>
                <a:cubicBezTo>
                  <a:pt x="47875" y="95907"/>
                  <a:pt x="47956" y="95880"/>
                  <a:pt x="48037" y="95853"/>
                </a:cubicBezTo>
                <a:cubicBezTo>
                  <a:pt x="48006" y="95572"/>
                  <a:pt x="48102" y="95546"/>
                  <a:pt x="48285" y="95546"/>
                </a:cubicBezTo>
                <a:cubicBezTo>
                  <a:pt x="48326" y="95546"/>
                  <a:pt x="48371" y="95547"/>
                  <a:pt x="48419" y="95547"/>
                </a:cubicBezTo>
                <a:cubicBezTo>
                  <a:pt x="48504" y="95555"/>
                  <a:pt x="48589" y="95561"/>
                  <a:pt x="48673" y="95561"/>
                </a:cubicBezTo>
                <a:cubicBezTo>
                  <a:pt x="49007" y="95561"/>
                  <a:pt x="49307" y="95463"/>
                  <a:pt x="49337" y="94974"/>
                </a:cubicBezTo>
                <a:cubicBezTo>
                  <a:pt x="49337" y="94935"/>
                  <a:pt x="49452" y="94859"/>
                  <a:pt x="49529" y="94859"/>
                </a:cubicBezTo>
                <a:cubicBezTo>
                  <a:pt x="50523" y="94591"/>
                  <a:pt x="51211" y="93788"/>
                  <a:pt x="52129" y="93405"/>
                </a:cubicBezTo>
                <a:cubicBezTo>
                  <a:pt x="52512" y="93252"/>
                  <a:pt x="52856" y="92908"/>
                  <a:pt x="53238" y="92679"/>
                </a:cubicBezTo>
                <a:cubicBezTo>
                  <a:pt x="53697" y="92373"/>
                  <a:pt x="54233" y="92182"/>
                  <a:pt x="54692" y="91837"/>
                </a:cubicBezTo>
                <a:cubicBezTo>
                  <a:pt x="55036" y="91570"/>
                  <a:pt x="55495" y="91455"/>
                  <a:pt x="55877" y="91187"/>
                </a:cubicBezTo>
                <a:cubicBezTo>
                  <a:pt x="56757" y="90499"/>
                  <a:pt x="57560" y="89696"/>
                  <a:pt x="58593" y="89198"/>
                </a:cubicBezTo>
                <a:cubicBezTo>
                  <a:pt x="58708" y="89122"/>
                  <a:pt x="58822" y="88969"/>
                  <a:pt x="58899" y="88854"/>
                </a:cubicBezTo>
                <a:cubicBezTo>
                  <a:pt x="59014" y="88778"/>
                  <a:pt x="59090" y="88701"/>
                  <a:pt x="59205" y="88663"/>
                </a:cubicBezTo>
                <a:cubicBezTo>
                  <a:pt x="59396" y="88472"/>
                  <a:pt x="59625" y="88281"/>
                  <a:pt x="59855" y="88051"/>
                </a:cubicBezTo>
                <a:cubicBezTo>
                  <a:pt x="59970" y="87936"/>
                  <a:pt x="60084" y="87707"/>
                  <a:pt x="60199" y="87669"/>
                </a:cubicBezTo>
                <a:cubicBezTo>
                  <a:pt x="60849" y="87592"/>
                  <a:pt x="61002" y="86942"/>
                  <a:pt x="61500" y="86712"/>
                </a:cubicBezTo>
                <a:cubicBezTo>
                  <a:pt x="61729" y="86598"/>
                  <a:pt x="61844" y="86215"/>
                  <a:pt x="62035" y="85986"/>
                </a:cubicBezTo>
                <a:cubicBezTo>
                  <a:pt x="62264" y="85756"/>
                  <a:pt x="62532" y="85565"/>
                  <a:pt x="62762" y="85336"/>
                </a:cubicBezTo>
                <a:cubicBezTo>
                  <a:pt x="63144" y="84991"/>
                  <a:pt x="63603" y="84685"/>
                  <a:pt x="63871" y="84226"/>
                </a:cubicBezTo>
                <a:cubicBezTo>
                  <a:pt x="64138" y="83806"/>
                  <a:pt x="64674" y="83576"/>
                  <a:pt x="64827" y="83041"/>
                </a:cubicBezTo>
                <a:cubicBezTo>
                  <a:pt x="64827" y="82964"/>
                  <a:pt x="64903" y="82888"/>
                  <a:pt x="64980" y="82888"/>
                </a:cubicBezTo>
                <a:cubicBezTo>
                  <a:pt x="65707" y="82888"/>
                  <a:pt x="65745" y="81970"/>
                  <a:pt x="66395" y="81817"/>
                </a:cubicBezTo>
                <a:cubicBezTo>
                  <a:pt x="66433" y="81779"/>
                  <a:pt x="66472" y="81587"/>
                  <a:pt x="66472" y="81473"/>
                </a:cubicBezTo>
                <a:cubicBezTo>
                  <a:pt x="66433" y="81129"/>
                  <a:pt x="66663" y="80937"/>
                  <a:pt x="66854" y="80784"/>
                </a:cubicBezTo>
                <a:cubicBezTo>
                  <a:pt x="67007" y="80593"/>
                  <a:pt x="67236" y="80517"/>
                  <a:pt x="67428" y="80364"/>
                </a:cubicBezTo>
                <a:cubicBezTo>
                  <a:pt x="67542" y="80325"/>
                  <a:pt x="67657" y="80172"/>
                  <a:pt x="67619" y="80134"/>
                </a:cubicBezTo>
                <a:cubicBezTo>
                  <a:pt x="67466" y="79637"/>
                  <a:pt x="67925" y="79522"/>
                  <a:pt x="68116" y="79369"/>
                </a:cubicBezTo>
                <a:cubicBezTo>
                  <a:pt x="68499" y="79140"/>
                  <a:pt x="68537" y="79216"/>
                  <a:pt x="68613" y="78872"/>
                </a:cubicBezTo>
                <a:cubicBezTo>
                  <a:pt x="68613" y="78795"/>
                  <a:pt x="68652" y="78681"/>
                  <a:pt x="68690" y="78681"/>
                </a:cubicBezTo>
                <a:cubicBezTo>
                  <a:pt x="68996" y="78643"/>
                  <a:pt x="68957" y="78298"/>
                  <a:pt x="69110" y="78145"/>
                </a:cubicBezTo>
                <a:cubicBezTo>
                  <a:pt x="69302" y="77992"/>
                  <a:pt x="69340" y="77648"/>
                  <a:pt x="69531" y="77457"/>
                </a:cubicBezTo>
                <a:cubicBezTo>
                  <a:pt x="69722" y="77189"/>
                  <a:pt x="70028" y="76960"/>
                  <a:pt x="70220" y="76692"/>
                </a:cubicBezTo>
                <a:cubicBezTo>
                  <a:pt x="70449" y="76386"/>
                  <a:pt x="70564" y="76004"/>
                  <a:pt x="70717" y="75621"/>
                </a:cubicBezTo>
                <a:cubicBezTo>
                  <a:pt x="70793" y="75545"/>
                  <a:pt x="70870" y="75468"/>
                  <a:pt x="70946" y="75353"/>
                </a:cubicBezTo>
                <a:cubicBezTo>
                  <a:pt x="71176" y="75047"/>
                  <a:pt x="71482" y="74780"/>
                  <a:pt x="71558" y="74435"/>
                </a:cubicBezTo>
                <a:cubicBezTo>
                  <a:pt x="71673" y="73938"/>
                  <a:pt x="72094" y="73594"/>
                  <a:pt x="72208" y="73135"/>
                </a:cubicBezTo>
                <a:cubicBezTo>
                  <a:pt x="72247" y="72867"/>
                  <a:pt x="72514" y="72638"/>
                  <a:pt x="72706" y="72408"/>
                </a:cubicBezTo>
                <a:cubicBezTo>
                  <a:pt x="72859" y="72217"/>
                  <a:pt x="72706" y="71873"/>
                  <a:pt x="73050" y="71796"/>
                </a:cubicBezTo>
                <a:cubicBezTo>
                  <a:pt x="73088" y="71796"/>
                  <a:pt x="73126" y="71720"/>
                  <a:pt x="73126" y="71682"/>
                </a:cubicBezTo>
                <a:cubicBezTo>
                  <a:pt x="72897" y="71338"/>
                  <a:pt x="73241" y="71185"/>
                  <a:pt x="73356" y="70955"/>
                </a:cubicBezTo>
                <a:cubicBezTo>
                  <a:pt x="73585" y="70726"/>
                  <a:pt x="73700" y="70458"/>
                  <a:pt x="73738" y="70114"/>
                </a:cubicBezTo>
                <a:cubicBezTo>
                  <a:pt x="73776" y="69961"/>
                  <a:pt x="73929" y="69846"/>
                  <a:pt x="73929" y="69655"/>
                </a:cubicBezTo>
                <a:cubicBezTo>
                  <a:pt x="74006" y="69157"/>
                  <a:pt x="74427" y="68852"/>
                  <a:pt x="74427" y="68278"/>
                </a:cubicBezTo>
                <a:cubicBezTo>
                  <a:pt x="74465" y="67666"/>
                  <a:pt x="74694" y="67092"/>
                  <a:pt x="74847" y="66480"/>
                </a:cubicBezTo>
                <a:cubicBezTo>
                  <a:pt x="74962" y="65983"/>
                  <a:pt x="75192" y="65486"/>
                  <a:pt x="75306" y="65027"/>
                </a:cubicBezTo>
                <a:cubicBezTo>
                  <a:pt x="75498" y="64033"/>
                  <a:pt x="75689" y="63038"/>
                  <a:pt x="76071" y="62120"/>
                </a:cubicBezTo>
                <a:cubicBezTo>
                  <a:pt x="76224" y="61776"/>
                  <a:pt x="76033" y="61547"/>
                  <a:pt x="76148" y="61202"/>
                </a:cubicBezTo>
                <a:cubicBezTo>
                  <a:pt x="76415" y="60552"/>
                  <a:pt x="76568" y="59864"/>
                  <a:pt x="76607" y="59175"/>
                </a:cubicBezTo>
                <a:cubicBezTo>
                  <a:pt x="76607" y="58831"/>
                  <a:pt x="76798" y="58563"/>
                  <a:pt x="76836" y="58219"/>
                </a:cubicBezTo>
                <a:cubicBezTo>
                  <a:pt x="76874" y="57607"/>
                  <a:pt x="76913" y="57034"/>
                  <a:pt x="76989" y="56422"/>
                </a:cubicBezTo>
                <a:cubicBezTo>
                  <a:pt x="77066" y="55810"/>
                  <a:pt x="77219" y="55198"/>
                  <a:pt x="77257" y="54624"/>
                </a:cubicBezTo>
                <a:cubicBezTo>
                  <a:pt x="77372" y="53706"/>
                  <a:pt x="77448" y="52788"/>
                  <a:pt x="77448" y="51870"/>
                </a:cubicBezTo>
                <a:cubicBezTo>
                  <a:pt x="77486" y="50685"/>
                  <a:pt x="77525" y="49461"/>
                  <a:pt x="77525" y="48275"/>
                </a:cubicBezTo>
                <a:cubicBezTo>
                  <a:pt x="77486" y="47969"/>
                  <a:pt x="77333" y="47740"/>
                  <a:pt x="77410" y="47472"/>
                </a:cubicBezTo>
                <a:cubicBezTo>
                  <a:pt x="77563" y="46707"/>
                  <a:pt x="77333" y="45904"/>
                  <a:pt x="77410" y="45101"/>
                </a:cubicBezTo>
                <a:cubicBezTo>
                  <a:pt x="77486" y="44565"/>
                  <a:pt x="77295" y="43953"/>
                  <a:pt x="77219" y="43380"/>
                </a:cubicBezTo>
                <a:cubicBezTo>
                  <a:pt x="77180" y="43074"/>
                  <a:pt x="77180" y="42768"/>
                  <a:pt x="77104" y="42462"/>
                </a:cubicBezTo>
                <a:cubicBezTo>
                  <a:pt x="77066" y="42232"/>
                  <a:pt x="76874" y="42041"/>
                  <a:pt x="76874" y="41850"/>
                </a:cubicBezTo>
                <a:cubicBezTo>
                  <a:pt x="76836" y="41582"/>
                  <a:pt x="76760" y="41276"/>
                  <a:pt x="76913" y="41123"/>
                </a:cubicBezTo>
                <a:cubicBezTo>
                  <a:pt x="77180" y="40779"/>
                  <a:pt x="76607" y="40817"/>
                  <a:pt x="76760" y="40626"/>
                </a:cubicBezTo>
                <a:cubicBezTo>
                  <a:pt x="76913" y="40396"/>
                  <a:pt x="76760" y="40243"/>
                  <a:pt x="76760" y="40052"/>
                </a:cubicBezTo>
                <a:cubicBezTo>
                  <a:pt x="76645" y="39517"/>
                  <a:pt x="76492" y="39020"/>
                  <a:pt x="76415" y="38484"/>
                </a:cubicBezTo>
                <a:cubicBezTo>
                  <a:pt x="76301" y="37719"/>
                  <a:pt x="76071" y="36993"/>
                  <a:pt x="75880" y="36228"/>
                </a:cubicBezTo>
                <a:cubicBezTo>
                  <a:pt x="75727" y="35616"/>
                  <a:pt x="75612" y="35004"/>
                  <a:pt x="75459" y="34392"/>
                </a:cubicBezTo>
                <a:cubicBezTo>
                  <a:pt x="75383" y="33971"/>
                  <a:pt x="75268" y="33589"/>
                  <a:pt x="75077" y="33244"/>
                </a:cubicBezTo>
                <a:cubicBezTo>
                  <a:pt x="74962" y="33053"/>
                  <a:pt x="74924" y="32939"/>
                  <a:pt x="74886" y="32747"/>
                </a:cubicBezTo>
                <a:cubicBezTo>
                  <a:pt x="74771" y="32250"/>
                  <a:pt x="74388" y="31829"/>
                  <a:pt x="74350" y="31256"/>
                </a:cubicBezTo>
                <a:cubicBezTo>
                  <a:pt x="74350" y="31217"/>
                  <a:pt x="74274" y="31141"/>
                  <a:pt x="74235" y="31103"/>
                </a:cubicBezTo>
                <a:cubicBezTo>
                  <a:pt x="73891" y="30988"/>
                  <a:pt x="74044" y="30644"/>
                  <a:pt x="73853" y="30453"/>
                </a:cubicBezTo>
                <a:cubicBezTo>
                  <a:pt x="73815" y="30414"/>
                  <a:pt x="73853" y="30185"/>
                  <a:pt x="73776" y="30147"/>
                </a:cubicBezTo>
                <a:cubicBezTo>
                  <a:pt x="73547" y="29994"/>
                  <a:pt x="73471" y="29802"/>
                  <a:pt x="73509" y="29496"/>
                </a:cubicBezTo>
                <a:cubicBezTo>
                  <a:pt x="73509" y="29382"/>
                  <a:pt x="73394" y="29152"/>
                  <a:pt x="73279" y="29114"/>
                </a:cubicBezTo>
                <a:cubicBezTo>
                  <a:pt x="73012" y="29037"/>
                  <a:pt x="72973" y="28808"/>
                  <a:pt x="72935" y="28617"/>
                </a:cubicBezTo>
                <a:cubicBezTo>
                  <a:pt x="72782" y="28196"/>
                  <a:pt x="72361" y="27928"/>
                  <a:pt x="72476" y="27393"/>
                </a:cubicBezTo>
                <a:cubicBezTo>
                  <a:pt x="72476" y="27355"/>
                  <a:pt x="72361" y="27240"/>
                  <a:pt x="72285" y="27163"/>
                </a:cubicBezTo>
                <a:cubicBezTo>
                  <a:pt x="71826" y="26704"/>
                  <a:pt x="71673" y="26360"/>
                  <a:pt x="71443" y="25710"/>
                </a:cubicBezTo>
                <a:cubicBezTo>
                  <a:pt x="71443" y="25595"/>
                  <a:pt x="71367" y="25404"/>
                  <a:pt x="71290" y="25366"/>
                </a:cubicBezTo>
                <a:cubicBezTo>
                  <a:pt x="70832" y="25328"/>
                  <a:pt x="70793" y="24945"/>
                  <a:pt x="70679" y="24601"/>
                </a:cubicBezTo>
                <a:cubicBezTo>
                  <a:pt x="70411" y="23759"/>
                  <a:pt x="69722" y="23186"/>
                  <a:pt x="69263" y="22459"/>
                </a:cubicBezTo>
                <a:cubicBezTo>
                  <a:pt x="69225" y="22344"/>
                  <a:pt x="69072" y="22268"/>
                  <a:pt x="68957" y="22230"/>
                </a:cubicBezTo>
                <a:cubicBezTo>
                  <a:pt x="68766" y="22191"/>
                  <a:pt x="68805" y="22115"/>
                  <a:pt x="68881" y="21962"/>
                </a:cubicBezTo>
                <a:cubicBezTo>
                  <a:pt x="68919" y="21885"/>
                  <a:pt x="68881" y="21771"/>
                  <a:pt x="68843" y="21694"/>
                </a:cubicBezTo>
                <a:cubicBezTo>
                  <a:pt x="68575" y="21312"/>
                  <a:pt x="68346" y="20929"/>
                  <a:pt x="67963" y="20700"/>
                </a:cubicBezTo>
                <a:cubicBezTo>
                  <a:pt x="67810" y="20623"/>
                  <a:pt x="67695" y="20509"/>
                  <a:pt x="67619" y="20394"/>
                </a:cubicBezTo>
                <a:cubicBezTo>
                  <a:pt x="67428" y="20126"/>
                  <a:pt x="67351" y="19744"/>
                  <a:pt x="67083" y="19591"/>
                </a:cubicBezTo>
                <a:cubicBezTo>
                  <a:pt x="66739" y="19399"/>
                  <a:pt x="66701" y="19055"/>
                  <a:pt x="66472" y="18864"/>
                </a:cubicBezTo>
                <a:cubicBezTo>
                  <a:pt x="66166" y="18596"/>
                  <a:pt x="66013" y="18214"/>
                  <a:pt x="65745" y="17946"/>
                </a:cubicBezTo>
                <a:cubicBezTo>
                  <a:pt x="65668" y="17870"/>
                  <a:pt x="65592" y="17755"/>
                  <a:pt x="65515" y="17678"/>
                </a:cubicBezTo>
                <a:cubicBezTo>
                  <a:pt x="65209" y="17449"/>
                  <a:pt x="64980" y="17219"/>
                  <a:pt x="64712" y="16760"/>
                </a:cubicBezTo>
                <a:cubicBezTo>
                  <a:pt x="64636" y="16646"/>
                  <a:pt x="64483" y="16569"/>
                  <a:pt x="64406" y="16531"/>
                </a:cubicBezTo>
                <a:cubicBezTo>
                  <a:pt x="63909" y="16301"/>
                  <a:pt x="63756" y="16110"/>
                  <a:pt x="63603" y="15575"/>
                </a:cubicBezTo>
                <a:cubicBezTo>
                  <a:pt x="63603" y="15498"/>
                  <a:pt x="63527" y="15422"/>
                  <a:pt x="63450" y="15384"/>
                </a:cubicBezTo>
                <a:cubicBezTo>
                  <a:pt x="63259" y="15269"/>
                  <a:pt x="63068" y="15231"/>
                  <a:pt x="63106" y="14963"/>
                </a:cubicBezTo>
                <a:cubicBezTo>
                  <a:pt x="63106" y="14925"/>
                  <a:pt x="62915" y="14848"/>
                  <a:pt x="62838" y="14810"/>
                </a:cubicBezTo>
                <a:cubicBezTo>
                  <a:pt x="62723" y="14733"/>
                  <a:pt x="62570" y="14695"/>
                  <a:pt x="62494" y="14619"/>
                </a:cubicBezTo>
                <a:cubicBezTo>
                  <a:pt x="62264" y="14389"/>
                  <a:pt x="61920" y="14198"/>
                  <a:pt x="61882" y="13930"/>
                </a:cubicBezTo>
                <a:cubicBezTo>
                  <a:pt x="61844" y="13586"/>
                  <a:pt x="61079" y="13854"/>
                  <a:pt x="61423" y="13318"/>
                </a:cubicBezTo>
                <a:cubicBezTo>
                  <a:pt x="61385" y="13280"/>
                  <a:pt x="61308" y="13242"/>
                  <a:pt x="61232" y="13242"/>
                </a:cubicBezTo>
                <a:cubicBezTo>
                  <a:pt x="61169" y="13263"/>
                  <a:pt x="61114" y="13272"/>
                  <a:pt x="61068" y="13272"/>
                </a:cubicBezTo>
                <a:cubicBezTo>
                  <a:pt x="60862" y="13272"/>
                  <a:pt x="60811" y="13085"/>
                  <a:pt x="60811" y="12898"/>
                </a:cubicBezTo>
                <a:cubicBezTo>
                  <a:pt x="60782" y="12725"/>
                  <a:pt x="60754" y="12639"/>
                  <a:pt x="60644" y="12639"/>
                </a:cubicBezTo>
                <a:cubicBezTo>
                  <a:pt x="60608" y="12639"/>
                  <a:pt x="60563" y="12649"/>
                  <a:pt x="60505" y="12668"/>
                </a:cubicBezTo>
                <a:cubicBezTo>
                  <a:pt x="60489" y="12673"/>
                  <a:pt x="60474" y="12676"/>
                  <a:pt x="60460" y="12676"/>
                </a:cubicBezTo>
                <a:cubicBezTo>
                  <a:pt x="60369" y="12676"/>
                  <a:pt x="60303" y="12581"/>
                  <a:pt x="60237" y="12515"/>
                </a:cubicBezTo>
                <a:cubicBezTo>
                  <a:pt x="59970" y="12324"/>
                  <a:pt x="59702" y="12171"/>
                  <a:pt x="59587" y="11865"/>
                </a:cubicBezTo>
                <a:cubicBezTo>
                  <a:pt x="58899" y="11712"/>
                  <a:pt x="58708" y="10756"/>
                  <a:pt x="57943" y="10756"/>
                </a:cubicBezTo>
                <a:cubicBezTo>
                  <a:pt x="57904" y="10756"/>
                  <a:pt x="57828" y="10679"/>
                  <a:pt x="57828" y="10641"/>
                </a:cubicBezTo>
                <a:cubicBezTo>
                  <a:pt x="57790" y="10259"/>
                  <a:pt x="57445" y="10182"/>
                  <a:pt x="57178" y="10029"/>
                </a:cubicBezTo>
                <a:cubicBezTo>
                  <a:pt x="56719" y="9761"/>
                  <a:pt x="56298" y="9532"/>
                  <a:pt x="55839" y="9264"/>
                </a:cubicBezTo>
                <a:cubicBezTo>
                  <a:pt x="55571" y="9111"/>
                  <a:pt x="55265" y="8882"/>
                  <a:pt x="54959" y="8729"/>
                </a:cubicBezTo>
                <a:cubicBezTo>
                  <a:pt x="54692" y="8538"/>
                  <a:pt x="54348" y="8461"/>
                  <a:pt x="54156" y="8232"/>
                </a:cubicBezTo>
                <a:cubicBezTo>
                  <a:pt x="53927" y="7926"/>
                  <a:pt x="53583" y="7964"/>
                  <a:pt x="53315" y="7773"/>
                </a:cubicBezTo>
                <a:cubicBezTo>
                  <a:pt x="52779" y="7428"/>
                  <a:pt x="52091" y="7275"/>
                  <a:pt x="51709" y="6702"/>
                </a:cubicBezTo>
                <a:cubicBezTo>
                  <a:pt x="51632" y="6625"/>
                  <a:pt x="51517" y="6587"/>
                  <a:pt x="51441" y="6587"/>
                </a:cubicBezTo>
                <a:cubicBezTo>
                  <a:pt x="51399" y="6596"/>
                  <a:pt x="51360" y="6600"/>
                  <a:pt x="51322" y="6600"/>
                </a:cubicBezTo>
                <a:cubicBezTo>
                  <a:pt x="51050" y="6600"/>
                  <a:pt x="50878" y="6377"/>
                  <a:pt x="50676" y="6243"/>
                </a:cubicBezTo>
                <a:cubicBezTo>
                  <a:pt x="50408" y="6128"/>
                  <a:pt x="50217" y="5860"/>
                  <a:pt x="49949" y="5822"/>
                </a:cubicBezTo>
                <a:cubicBezTo>
                  <a:pt x="49605" y="5822"/>
                  <a:pt x="49299" y="5593"/>
                  <a:pt x="49146" y="5401"/>
                </a:cubicBezTo>
                <a:cubicBezTo>
                  <a:pt x="48917" y="5095"/>
                  <a:pt x="48572" y="5172"/>
                  <a:pt x="48419" y="4942"/>
                </a:cubicBezTo>
                <a:cubicBezTo>
                  <a:pt x="48305" y="4805"/>
                  <a:pt x="48204" y="4777"/>
                  <a:pt x="48092" y="4777"/>
                </a:cubicBezTo>
                <a:cubicBezTo>
                  <a:pt x="48017" y="4777"/>
                  <a:pt x="47938" y="4789"/>
                  <a:pt x="47846" y="4789"/>
                </a:cubicBezTo>
                <a:cubicBezTo>
                  <a:pt x="47836" y="4792"/>
                  <a:pt x="47826" y="4793"/>
                  <a:pt x="47816" y="4793"/>
                </a:cubicBezTo>
                <a:cubicBezTo>
                  <a:pt x="47673" y="4793"/>
                  <a:pt x="47527" y="4550"/>
                  <a:pt x="47349" y="4407"/>
                </a:cubicBezTo>
                <a:cubicBezTo>
                  <a:pt x="47349" y="4407"/>
                  <a:pt x="47272" y="4445"/>
                  <a:pt x="47234" y="4483"/>
                </a:cubicBezTo>
                <a:cubicBezTo>
                  <a:pt x="47182" y="4501"/>
                  <a:pt x="47131" y="4518"/>
                  <a:pt x="47094" y="4518"/>
                </a:cubicBezTo>
                <a:cubicBezTo>
                  <a:pt x="47047" y="4518"/>
                  <a:pt x="47021" y="4492"/>
                  <a:pt x="47043" y="4407"/>
                </a:cubicBezTo>
                <a:cubicBezTo>
                  <a:pt x="47043" y="4254"/>
                  <a:pt x="47043" y="4177"/>
                  <a:pt x="46890" y="4139"/>
                </a:cubicBezTo>
                <a:cubicBezTo>
                  <a:pt x="46125" y="3910"/>
                  <a:pt x="45398" y="3680"/>
                  <a:pt x="44710" y="3298"/>
                </a:cubicBezTo>
                <a:cubicBezTo>
                  <a:pt x="44327" y="3068"/>
                  <a:pt x="43868" y="3030"/>
                  <a:pt x="43447" y="2915"/>
                </a:cubicBezTo>
                <a:cubicBezTo>
                  <a:pt x="42797" y="2724"/>
                  <a:pt x="42185" y="2571"/>
                  <a:pt x="41612" y="2303"/>
                </a:cubicBezTo>
                <a:cubicBezTo>
                  <a:pt x="41382" y="2189"/>
                  <a:pt x="41191" y="2074"/>
                  <a:pt x="40961" y="1997"/>
                </a:cubicBezTo>
                <a:cubicBezTo>
                  <a:pt x="40464" y="1883"/>
                  <a:pt x="40005" y="1806"/>
                  <a:pt x="39508" y="1691"/>
                </a:cubicBezTo>
                <a:cubicBezTo>
                  <a:pt x="38973" y="1539"/>
                  <a:pt x="38437" y="1347"/>
                  <a:pt x="37864" y="1194"/>
                </a:cubicBezTo>
                <a:cubicBezTo>
                  <a:pt x="36907" y="927"/>
                  <a:pt x="35913" y="1003"/>
                  <a:pt x="34957" y="735"/>
                </a:cubicBezTo>
                <a:cubicBezTo>
                  <a:pt x="34001" y="506"/>
                  <a:pt x="32968" y="468"/>
                  <a:pt x="31974" y="391"/>
                </a:cubicBezTo>
                <a:cubicBezTo>
                  <a:pt x="31668" y="353"/>
                  <a:pt x="31362" y="429"/>
                  <a:pt x="31056" y="238"/>
                </a:cubicBezTo>
                <a:cubicBezTo>
                  <a:pt x="30979" y="162"/>
                  <a:pt x="30826" y="162"/>
                  <a:pt x="30673" y="162"/>
                </a:cubicBezTo>
                <a:cubicBezTo>
                  <a:pt x="30392" y="190"/>
                  <a:pt x="30069" y="280"/>
                  <a:pt x="29781" y="280"/>
                </a:cubicBezTo>
                <a:cubicBezTo>
                  <a:pt x="29677" y="280"/>
                  <a:pt x="29579" y="268"/>
                  <a:pt x="29488" y="238"/>
                </a:cubicBezTo>
                <a:cubicBezTo>
                  <a:pt x="29239" y="151"/>
                  <a:pt x="28991" y="125"/>
                  <a:pt x="28741" y="125"/>
                </a:cubicBezTo>
                <a:cubicBezTo>
                  <a:pt x="28353" y="125"/>
                  <a:pt x="27962" y="189"/>
                  <a:pt x="27563" y="189"/>
                </a:cubicBezTo>
                <a:cubicBezTo>
                  <a:pt x="27428" y="189"/>
                  <a:pt x="27292" y="181"/>
                  <a:pt x="27155" y="162"/>
                </a:cubicBezTo>
                <a:cubicBezTo>
                  <a:pt x="26696" y="85"/>
                  <a:pt x="26122" y="123"/>
                  <a:pt x="25625" y="85"/>
                </a:cubicBezTo>
                <a:cubicBezTo>
                  <a:pt x="25133" y="85"/>
                  <a:pt x="24641" y="1"/>
                  <a:pt x="24150" y="1"/>
                </a:cubicBezTo>
                <a:close/>
              </a:path>
            </a:pathLst>
          </a:custGeom>
          <a:solidFill>
            <a:schemeClr val="accent2">
              <a:lumMod val="75000"/>
              <a:alpha val="3966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1" name="Google Shape;51;p15"/>
          <p:cNvSpPr/>
          <p:nvPr/>
        </p:nvSpPr>
        <p:spPr>
          <a:xfrm>
            <a:off x="2628201" y="1807503"/>
            <a:ext cx="1886488" cy="1897787"/>
          </a:xfrm>
          <a:custGeom>
            <a:avLst/>
            <a:gdLst/>
            <a:ahLst/>
            <a:cxnLst/>
            <a:rect l="l" t="t" r="r" b="b"/>
            <a:pathLst>
              <a:path w="68959" h="69372" extrusionOk="0">
                <a:moveTo>
                  <a:pt x="35311" y="0"/>
                </a:moveTo>
                <a:cubicBezTo>
                  <a:pt x="35257" y="0"/>
                  <a:pt x="35203" y="27"/>
                  <a:pt x="35149" y="54"/>
                </a:cubicBezTo>
                <a:cubicBezTo>
                  <a:pt x="34898" y="171"/>
                  <a:pt x="34625" y="179"/>
                  <a:pt x="34349" y="179"/>
                </a:cubicBezTo>
                <a:cubicBezTo>
                  <a:pt x="34310" y="179"/>
                  <a:pt x="34270" y="179"/>
                  <a:pt x="34231" y="179"/>
                </a:cubicBezTo>
                <a:cubicBezTo>
                  <a:pt x="33915" y="179"/>
                  <a:pt x="33600" y="188"/>
                  <a:pt x="33313" y="360"/>
                </a:cubicBezTo>
                <a:cubicBezTo>
                  <a:pt x="33186" y="284"/>
                  <a:pt x="33058" y="258"/>
                  <a:pt x="32931" y="258"/>
                </a:cubicBezTo>
                <a:cubicBezTo>
                  <a:pt x="32676" y="258"/>
                  <a:pt x="32421" y="360"/>
                  <a:pt x="32166" y="360"/>
                </a:cubicBezTo>
                <a:cubicBezTo>
                  <a:pt x="31630" y="360"/>
                  <a:pt x="31095" y="437"/>
                  <a:pt x="30598" y="513"/>
                </a:cubicBezTo>
                <a:cubicBezTo>
                  <a:pt x="30368" y="551"/>
                  <a:pt x="30177" y="666"/>
                  <a:pt x="29947" y="666"/>
                </a:cubicBezTo>
                <a:cubicBezTo>
                  <a:pt x="29879" y="674"/>
                  <a:pt x="29808" y="677"/>
                  <a:pt x="29737" y="677"/>
                </a:cubicBezTo>
                <a:cubicBezTo>
                  <a:pt x="29452" y="677"/>
                  <a:pt x="29152" y="628"/>
                  <a:pt x="28877" y="628"/>
                </a:cubicBezTo>
                <a:cubicBezTo>
                  <a:pt x="28532" y="628"/>
                  <a:pt x="28188" y="781"/>
                  <a:pt x="27844" y="934"/>
                </a:cubicBezTo>
                <a:cubicBezTo>
                  <a:pt x="27461" y="1163"/>
                  <a:pt x="27002" y="1163"/>
                  <a:pt x="26582" y="1278"/>
                </a:cubicBezTo>
                <a:cubicBezTo>
                  <a:pt x="26236" y="1341"/>
                  <a:pt x="25890" y="1585"/>
                  <a:pt x="25502" y="1585"/>
                </a:cubicBezTo>
                <a:cubicBezTo>
                  <a:pt x="25418" y="1585"/>
                  <a:pt x="25332" y="1573"/>
                  <a:pt x="25243" y="1546"/>
                </a:cubicBezTo>
                <a:cubicBezTo>
                  <a:pt x="25227" y="1541"/>
                  <a:pt x="25211" y="1538"/>
                  <a:pt x="25194" y="1538"/>
                </a:cubicBezTo>
                <a:cubicBezTo>
                  <a:pt x="25087" y="1538"/>
                  <a:pt x="24960" y="1633"/>
                  <a:pt x="24861" y="1699"/>
                </a:cubicBezTo>
                <a:cubicBezTo>
                  <a:pt x="24593" y="1928"/>
                  <a:pt x="24287" y="2005"/>
                  <a:pt x="23981" y="2043"/>
                </a:cubicBezTo>
                <a:cubicBezTo>
                  <a:pt x="23446" y="2158"/>
                  <a:pt x="22948" y="2387"/>
                  <a:pt x="22413" y="2578"/>
                </a:cubicBezTo>
                <a:cubicBezTo>
                  <a:pt x="21801" y="2808"/>
                  <a:pt x="21189" y="3114"/>
                  <a:pt x="20577" y="3305"/>
                </a:cubicBezTo>
                <a:cubicBezTo>
                  <a:pt x="19583" y="3649"/>
                  <a:pt x="18627" y="4108"/>
                  <a:pt x="17747" y="4644"/>
                </a:cubicBezTo>
                <a:cubicBezTo>
                  <a:pt x="16982" y="5103"/>
                  <a:pt x="16294" y="5638"/>
                  <a:pt x="15567" y="6097"/>
                </a:cubicBezTo>
                <a:cubicBezTo>
                  <a:pt x="15184" y="6403"/>
                  <a:pt x="14802" y="6747"/>
                  <a:pt x="14381" y="6900"/>
                </a:cubicBezTo>
                <a:cubicBezTo>
                  <a:pt x="13463" y="7321"/>
                  <a:pt x="12775" y="8048"/>
                  <a:pt x="12010" y="8583"/>
                </a:cubicBezTo>
                <a:cubicBezTo>
                  <a:pt x="11398" y="9004"/>
                  <a:pt x="10901" y="9539"/>
                  <a:pt x="10404" y="10036"/>
                </a:cubicBezTo>
                <a:cubicBezTo>
                  <a:pt x="10136" y="10342"/>
                  <a:pt x="9868" y="10687"/>
                  <a:pt x="9562" y="10916"/>
                </a:cubicBezTo>
                <a:cubicBezTo>
                  <a:pt x="9180" y="11184"/>
                  <a:pt x="8989" y="11605"/>
                  <a:pt x="8721" y="11872"/>
                </a:cubicBezTo>
                <a:cubicBezTo>
                  <a:pt x="7994" y="12599"/>
                  <a:pt x="7497" y="13479"/>
                  <a:pt x="6770" y="14167"/>
                </a:cubicBezTo>
                <a:cubicBezTo>
                  <a:pt x="6541" y="14435"/>
                  <a:pt x="6388" y="14664"/>
                  <a:pt x="6235" y="15008"/>
                </a:cubicBezTo>
                <a:cubicBezTo>
                  <a:pt x="6120" y="15391"/>
                  <a:pt x="5661" y="15620"/>
                  <a:pt x="5699" y="16079"/>
                </a:cubicBezTo>
                <a:cubicBezTo>
                  <a:pt x="5279" y="16271"/>
                  <a:pt x="5126" y="16653"/>
                  <a:pt x="5049" y="17074"/>
                </a:cubicBezTo>
                <a:cubicBezTo>
                  <a:pt x="5011" y="17112"/>
                  <a:pt x="4973" y="17112"/>
                  <a:pt x="4935" y="17150"/>
                </a:cubicBezTo>
                <a:cubicBezTo>
                  <a:pt x="4476" y="17571"/>
                  <a:pt x="4131" y="17953"/>
                  <a:pt x="3978" y="18489"/>
                </a:cubicBezTo>
                <a:cubicBezTo>
                  <a:pt x="3940" y="18718"/>
                  <a:pt x="3787" y="18833"/>
                  <a:pt x="3634" y="19024"/>
                </a:cubicBezTo>
                <a:cubicBezTo>
                  <a:pt x="3405" y="19292"/>
                  <a:pt x="3137" y="19713"/>
                  <a:pt x="3099" y="20057"/>
                </a:cubicBezTo>
                <a:cubicBezTo>
                  <a:pt x="3099" y="20325"/>
                  <a:pt x="3022" y="20439"/>
                  <a:pt x="2908" y="20631"/>
                </a:cubicBezTo>
                <a:cubicBezTo>
                  <a:pt x="2410" y="21243"/>
                  <a:pt x="2028" y="21969"/>
                  <a:pt x="2104" y="22734"/>
                </a:cubicBezTo>
                <a:cubicBezTo>
                  <a:pt x="2104" y="23155"/>
                  <a:pt x="1722" y="23384"/>
                  <a:pt x="1837" y="23805"/>
                </a:cubicBezTo>
                <a:cubicBezTo>
                  <a:pt x="1875" y="23805"/>
                  <a:pt x="1798" y="23920"/>
                  <a:pt x="1760" y="23920"/>
                </a:cubicBezTo>
                <a:cubicBezTo>
                  <a:pt x="1739" y="23918"/>
                  <a:pt x="1719" y="23917"/>
                  <a:pt x="1699" y="23917"/>
                </a:cubicBezTo>
                <a:cubicBezTo>
                  <a:pt x="1273" y="23917"/>
                  <a:pt x="1378" y="24314"/>
                  <a:pt x="1378" y="24570"/>
                </a:cubicBezTo>
                <a:cubicBezTo>
                  <a:pt x="1378" y="24991"/>
                  <a:pt x="1186" y="25373"/>
                  <a:pt x="1072" y="25756"/>
                </a:cubicBezTo>
                <a:cubicBezTo>
                  <a:pt x="995" y="26023"/>
                  <a:pt x="995" y="26253"/>
                  <a:pt x="957" y="26482"/>
                </a:cubicBezTo>
                <a:cubicBezTo>
                  <a:pt x="919" y="26712"/>
                  <a:pt x="919" y="26941"/>
                  <a:pt x="880" y="27171"/>
                </a:cubicBezTo>
                <a:cubicBezTo>
                  <a:pt x="880" y="27209"/>
                  <a:pt x="727" y="27209"/>
                  <a:pt x="651" y="27247"/>
                </a:cubicBezTo>
                <a:cubicBezTo>
                  <a:pt x="689" y="27324"/>
                  <a:pt x="727" y="27438"/>
                  <a:pt x="804" y="27553"/>
                </a:cubicBezTo>
                <a:cubicBezTo>
                  <a:pt x="880" y="27706"/>
                  <a:pt x="957" y="27821"/>
                  <a:pt x="689" y="27859"/>
                </a:cubicBezTo>
                <a:cubicBezTo>
                  <a:pt x="651" y="27897"/>
                  <a:pt x="613" y="28050"/>
                  <a:pt x="613" y="28127"/>
                </a:cubicBezTo>
                <a:cubicBezTo>
                  <a:pt x="575" y="28395"/>
                  <a:pt x="498" y="28701"/>
                  <a:pt x="575" y="28930"/>
                </a:cubicBezTo>
                <a:cubicBezTo>
                  <a:pt x="689" y="29274"/>
                  <a:pt x="345" y="29427"/>
                  <a:pt x="345" y="29733"/>
                </a:cubicBezTo>
                <a:cubicBezTo>
                  <a:pt x="345" y="29810"/>
                  <a:pt x="383" y="29886"/>
                  <a:pt x="345" y="29963"/>
                </a:cubicBezTo>
                <a:cubicBezTo>
                  <a:pt x="116" y="30345"/>
                  <a:pt x="460" y="30689"/>
                  <a:pt x="307" y="31110"/>
                </a:cubicBezTo>
                <a:cubicBezTo>
                  <a:pt x="192" y="31454"/>
                  <a:pt x="307" y="31875"/>
                  <a:pt x="269" y="32296"/>
                </a:cubicBezTo>
                <a:cubicBezTo>
                  <a:pt x="230" y="32716"/>
                  <a:pt x="1" y="33214"/>
                  <a:pt x="77" y="33634"/>
                </a:cubicBezTo>
                <a:cubicBezTo>
                  <a:pt x="192" y="34284"/>
                  <a:pt x="77" y="34973"/>
                  <a:pt x="192" y="35623"/>
                </a:cubicBezTo>
                <a:cubicBezTo>
                  <a:pt x="269" y="36273"/>
                  <a:pt x="269" y="36923"/>
                  <a:pt x="269" y="37574"/>
                </a:cubicBezTo>
                <a:cubicBezTo>
                  <a:pt x="269" y="38224"/>
                  <a:pt x="727" y="38797"/>
                  <a:pt x="575" y="39486"/>
                </a:cubicBezTo>
                <a:cubicBezTo>
                  <a:pt x="575" y="39562"/>
                  <a:pt x="613" y="39677"/>
                  <a:pt x="651" y="39715"/>
                </a:cubicBezTo>
                <a:cubicBezTo>
                  <a:pt x="880" y="39868"/>
                  <a:pt x="842" y="39983"/>
                  <a:pt x="651" y="40136"/>
                </a:cubicBezTo>
                <a:cubicBezTo>
                  <a:pt x="880" y="40289"/>
                  <a:pt x="919" y="40480"/>
                  <a:pt x="842" y="40710"/>
                </a:cubicBezTo>
                <a:cubicBezTo>
                  <a:pt x="804" y="40825"/>
                  <a:pt x="842" y="40978"/>
                  <a:pt x="880" y="41054"/>
                </a:cubicBezTo>
                <a:cubicBezTo>
                  <a:pt x="1301" y="41475"/>
                  <a:pt x="1110" y="42010"/>
                  <a:pt x="1225" y="42469"/>
                </a:cubicBezTo>
                <a:cubicBezTo>
                  <a:pt x="1301" y="43043"/>
                  <a:pt x="1531" y="43578"/>
                  <a:pt x="1531" y="44190"/>
                </a:cubicBezTo>
                <a:cubicBezTo>
                  <a:pt x="1531" y="44267"/>
                  <a:pt x="1913" y="44267"/>
                  <a:pt x="1722" y="44573"/>
                </a:cubicBezTo>
                <a:cubicBezTo>
                  <a:pt x="1684" y="44611"/>
                  <a:pt x="1951" y="44879"/>
                  <a:pt x="2028" y="45032"/>
                </a:cubicBezTo>
                <a:cubicBezTo>
                  <a:pt x="2143" y="45338"/>
                  <a:pt x="2219" y="45605"/>
                  <a:pt x="2257" y="45911"/>
                </a:cubicBezTo>
                <a:cubicBezTo>
                  <a:pt x="2296" y="46217"/>
                  <a:pt x="2296" y="46485"/>
                  <a:pt x="2487" y="46753"/>
                </a:cubicBezTo>
                <a:cubicBezTo>
                  <a:pt x="2640" y="46982"/>
                  <a:pt x="2640" y="47288"/>
                  <a:pt x="2755" y="47518"/>
                </a:cubicBezTo>
                <a:cubicBezTo>
                  <a:pt x="3099" y="48282"/>
                  <a:pt x="3366" y="49086"/>
                  <a:pt x="3825" y="49736"/>
                </a:cubicBezTo>
                <a:cubicBezTo>
                  <a:pt x="4170" y="50157"/>
                  <a:pt x="4323" y="50730"/>
                  <a:pt x="4782" y="51074"/>
                </a:cubicBezTo>
                <a:cubicBezTo>
                  <a:pt x="4858" y="51151"/>
                  <a:pt x="4858" y="51304"/>
                  <a:pt x="4896" y="51419"/>
                </a:cubicBezTo>
                <a:cubicBezTo>
                  <a:pt x="5011" y="52069"/>
                  <a:pt x="5317" y="52566"/>
                  <a:pt x="5814" y="52949"/>
                </a:cubicBezTo>
                <a:cubicBezTo>
                  <a:pt x="6082" y="53178"/>
                  <a:pt x="6235" y="53407"/>
                  <a:pt x="6235" y="53752"/>
                </a:cubicBezTo>
                <a:cubicBezTo>
                  <a:pt x="6235" y="54058"/>
                  <a:pt x="6426" y="54249"/>
                  <a:pt x="6579" y="54478"/>
                </a:cubicBezTo>
                <a:cubicBezTo>
                  <a:pt x="6885" y="54823"/>
                  <a:pt x="7421" y="55014"/>
                  <a:pt x="7382" y="55626"/>
                </a:cubicBezTo>
                <a:cubicBezTo>
                  <a:pt x="7382" y="55626"/>
                  <a:pt x="7459" y="55664"/>
                  <a:pt x="7497" y="55702"/>
                </a:cubicBezTo>
                <a:cubicBezTo>
                  <a:pt x="8109" y="56123"/>
                  <a:pt x="8071" y="56123"/>
                  <a:pt x="8262" y="56505"/>
                </a:cubicBezTo>
                <a:cubicBezTo>
                  <a:pt x="8415" y="56697"/>
                  <a:pt x="8530" y="57003"/>
                  <a:pt x="8721" y="57117"/>
                </a:cubicBezTo>
                <a:cubicBezTo>
                  <a:pt x="9295" y="57423"/>
                  <a:pt x="9562" y="57997"/>
                  <a:pt x="9945" y="58456"/>
                </a:cubicBezTo>
                <a:cubicBezTo>
                  <a:pt x="10136" y="58685"/>
                  <a:pt x="10289" y="58991"/>
                  <a:pt x="10671" y="59068"/>
                </a:cubicBezTo>
                <a:cubicBezTo>
                  <a:pt x="10710" y="59068"/>
                  <a:pt x="10786" y="59144"/>
                  <a:pt x="10824" y="59183"/>
                </a:cubicBezTo>
                <a:cubicBezTo>
                  <a:pt x="10939" y="59642"/>
                  <a:pt x="11322" y="59795"/>
                  <a:pt x="11704" y="59986"/>
                </a:cubicBezTo>
                <a:cubicBezTo>
                  <a:pt x="11934" y="60101"/>
                  <a:pt x="12201" y="60292"/>
                  <a:pt x="12163" y="60674"/>
                </a:cubicBezTo>
                <a:cubicBezTo>
                  <a:pt x="12163" y="60754"/>
                  <a:pt x="12200" y="60984"/>
                  <a:pt x="12328" y="60984"/>
                </a:cubicBezTo>
                <a:cubicBezTo>
                  <a:pt x="12382" y="60984"/>
                  <a:pt x="12454" y="60942"/>
                  <a:pt x="12546" y="60827"/>
                </a:cubicBezTo>
                <a:cubicBezTo>
                  <a:pt x="12622" y="60904"/>
                  <a:pt x="12660" y="60942"/>
                  <a:pt x="12737" y="61018"/>
                </a:cubicBezTo>
                <a:cubicBezTo>
                  <a:pt x="12890" y="61210"/>
                  <a:pt x="13119" y="61363"/>
                  <a:pt x="13157" y="61592"/>
                </a:cubicBezTo>
                <a:cubicBezTo>
                  <a:pt x="13196" y="61936"/>
                  <a:pt x="13540" y="61860"/>
                  <a:pt x="13693" y="62051"/>
                </a:cubicBezTo>
                <a:cubicBezTo>
                  <a:pt x="13808" y="62204"/>
                  <a:pt x="14037" y="62242"/>
                  <a:pt x="14152" y="62395"/>
                </a:cubicBezTo>
                <a:cubicBezTo>
                  <a:pt x="14381" y="62663"/>
                  <a:pt x="14726" y="62931"/>
                  <a:pt x="15070" y="63122"/>
                </a:cubicBezTo>
                <a:cubicBezTo>
                  <a:pt x="15223" y="63198"/>
                  <a:pt x="15376" y="63351"/>
                  <a:pt x="15490" y="63504"/>
                </a:cubicBezTo>
                <a:cubicBezTo>
                  <a:pt x="15529" y="63581"/>
                  <a:pt x="15337" y="63734"/>
                  <a:pt x="15605" y="63772"/>
                </a:cubicBezTo>
                <a:cubicBezTo>
                  <a:pt x="15720" y="63772"/>
                  <a:pt x="15873" y="63849"/>
                  <a:pt x="15988" y="63925"/>
                </a:cubicBezTo>
                <a:cubicBezTo>
                  <a:pt x="16676" y="64422"/>
                  <a:pt x="17326" y="64881"/>
                  <a:pt x="18015" y="65378"/>
                </a:cubicBezTo>
                <a:cubicBezTo>
                  <a:pt x="18104" y="65498"/>
                  <a:pt x="18194" y="65594"/>
                  <a:pt x="18320" y="65594"/>
                </a:cubicBezTo>
                <a:cubicBezTo>
                  <a:pt x="18355" y="65594"/>
                  <a:pt x="18393" y="65586"/>
                  <a:pt x="18435" y="65570"/>
                </a:cubicBezTo>
                <a:cubicBezTo>
                  <a:pt x="18665" y="65684"/>
                  <a:pt x="18856" y="65799"/>
                  <a:pt x="19047" y="65952"/>
                </a:cubicBezTo>
                <a:cubicBezTo>
                  <a:pt x="19184" y="66020"/>
                  <a:pt x="19351" y="66149"/>
                  <a:pt x="19412" y="66149"/>
                </a:cubicBezTo>
                <a:cubicBezTo>
                  <a:pt x="19420" y="66149"/>
                  <a:pt x="19426" y="66148"/>
                  <a:pt x="19430" y="66143"/>
                </a:cubicBezTo>
                <a:cubicBezTo>
                  <a:pt x="19540" y="66058"/>
                  <a:pt x="19631" y="66023"/>
                  <a:pt x="19708" y="66023"/>
                </a:cubicBezTo>
                <a:cubicBezTo>
                  <a:pt x="19872" y="66023"/>
                  <a:pt x="19976" y="66179"/>
                  <a:pt x="20080" y="66335"/>
                </a:cubicBezTo>
                <a:cubicBezTo>
                  <a:pt x="20102" y="66379"/>
                  <a:pt x="20164" y="66398"/>
                  <a:pt x="20219" y="66398"/>
                </a:cubicBezTo>
                <a:cubicBezTo>
                  <a:pt x="20258" y="66398"/>
                  <a:pt x="20294" y="66389"/>
                  <a:pt x="20309" y="66373"/>
                </a:cubicBezTo>
                <a:cubicBezTo>
                  <a:pt x="20430" y="66304"/>
                  <a:pt x="20504" y="66266"/>
                  <a:pt x="20552" y="66266"/>
                </a:cubicBezTo>
                <a:cubicBezTo>
                  <a:pt x="20612" y="66266"/>
                  <a:pt x="20633" y="66323"/>
                  <a:pt x="20654" y="66449"/>
                </a:cubicBezTo>
                <a:cubicBezTo>
                  <a:pt x="20722" y="66655"/>
                  <a:pt x="20883" y="66799"/>
                  <a:pt x="21054" y="66799"/>
                </a:cubicBezTo>
                <a:cubicBezTo>
                  <a:pt x="21073" y="66799"/>
                  <a:pt x="21093" y="66798"/>
                  <a:pt x="21113" y="66794"/>
                </a:cubicBezTo>
                <a:cubicBezTo>
                  <a:pt x="21231" y="66744"/>
                  <a:pt x="21339" y="66723"/>
                  <a:pt x="21439" y="66723"/>
                </a:cubicBezTo>
                <a:cubicBezTo>
                  <a:pt x="21729" y="66723"/>
                  <a:pt x="21956" y="66901"/>
                  <a:pt x="22183" y="67100"/>
                </a:cubicBezTo>
                <a:cubicBezTo>
                  <a:pt x="22222" y="67176"/>
                  <a:pt x="22375" y="67176"/>
                  <a:pt x="22451" y="67176"/>
                </a:cubicBezTo>
                <a:cubicBezTo>
                  <a:pt x="22611" y="67123"/>
                  <a:pt x="22697" y="67094"/>
                  <a:pt x="22754" y="67094"/>
                </a:cubicBezTo>
                <a:cubicBezTo>
                  <a:pt x="22820" y="67094"/>
                  <a:pt x="22849" y="67132"/>
                  <a:pt x="22910" y="67214"/>
                </a:cubicBezTo>
                <a:cubicBezTo>
                  <a:pt x="22948" y="67329"/>
                  <a:pt x="23025" y="67482"/>
                  <a:pt x="23101" y="67520"/>
                </a:cubicBezTo>
                <a:cubicBezTo>
                  <a:pt x="23484" y="67597"/>
                  <a:pt x="23905" y="67673"/>
                  <a:pt x="24287" y="67711"/>
                </a:cubicBezTo>
                <a:cubicBezTo>
                  <a:pt x="24311" y="67720"/>
                  <a:pt x="24336" y="67723"/>
                  <a:pt x="24359" y="67723"/>
                </a:cubicBezTo>
                <a:cubicBezTo>
                  <a:pt x="24423" y="67723"/>
                  <a:pt x="24482" y="67700"/>
                  <a:pt x="24521" y="67700"/>
                </a:cubicBezTo>
                <a:cubicBezTo>
                  <a:pt x="24535" y="67700"/>
                  <a:pt x="24547" y="67703"/>
                  <a:pt x="24555" y="67711"/>
                </a:cubicBezTo>
                <a:cubicBezTo>
                  <a:pt x="24937" y="68209"/>
                  <a:pt x="25702" y="67941"/>
                  <a:pt x="26085" y="68438"/>
                </a:cubicBezTo>
                <a:cubicBezTo>
                  <a:pt x="26092" y="68445"/>
                  <a:pt x="26105" y="68449"/>
                  <a:pt x="26122" y="68449"/>
                </a:cubicBezTo>
                <a:cubicBezTo>
                  <a:pt x="26193" y="68449"/>
                  <a:pt x="26336" y="68393"/>
                  <a:pt x="26429" y="68362"/>
                </a:cubicBezTo>
                <a:cubicBezTo>
                  <a:pt x="26515" y="68362"/>
                  <a:pt x="26665" y="68297"/>
                  <a:pt x="26751" y="68297"/>
                </a:cubicBezTo>
                <a:cubicBezTo>
                  <a:pt x="26780" y="68297"/>
                  <a:pt x="26802" y="68304"/>
                  <a:pt x="26811" y="68323"/>
                </a:cubicBezTo>
                <a:cubicBezTo>
                  <a:pt x="27155" y="68629"/>
                  <a:pt x="27538" y="68515"/>
                  <a:pt x="27882" y="68591"/>
                </a:cubicBezTo>
                <a:cubicBezTo>
                  <a:pt x="28877" y="68782"/>
                  <a:pt x="29871" y="68591"/>
                  <a:pt x="30827" y="69012"/>
                </a:cubicBezTo>
                <a:cubicBezTo>
                  <a:pt x="30939" y="69068"/>
                  <a:pt x="31072" y="69103"/>
                  <a:pt x="31210" y="69103"/>
                </a:cubicBezTo>
                <a:cubicBezTo>
                  <a:pt x="31260" y="69103"/>
                  <a:pt x="31311" y="69099"/>
                  <a:pt x="31363" y="69088"/>
                </a:cubicBezTo>
                <a:cubicBezTo>
                  <a:pt x="31396" y="69086"/>
                  <a:pt x="31430" y="69085"/>
                  <a:pt x="31464" y="69085"/>
                </a:cubicBezTo>
                <a:cubicBezTo>
                  <a:pt x="31815" y="69085"/>
                  <a:pt x="32168" y="69212"/>
                  <a:pt x="32535" y="69212"/>
                </a:cubicBezTo>
                <a:cubicBezTo>
                  <a:pt x="32652" y="69212"/>
                  <a:pt x="32771" y="69199"/>
                  <a:pt x="32892" y="69165"/>
                </a:cubicBezTo>
                <a:cubicBezTo>
                  <a:pt x="32952" y="69207"/>
                  <a:pt x="33019" y="69222"/>
                  <a:pt x="33091" y="69222"/>
                </a:cubicBezTo>
                <a:cubicBezTo>
                  <a:pt x="33231" y="69222"/>
                  <a:pt x="33387" y="69168"/>
                  <a:pt x="33534" y="69168"/>
                </a:cubicBezTo>
                <a:cubicBezTo>
                  <a:pt x="33648" y="69168"/>
                  <a:pt x="33757" y="69201"/>
                  <a:pt x="33849" y="69318"/>
                </a:cubicBezTo>
                <a:cubicBezTo>
                  <a:pt x="33876" y="69345"/>
                  <a:pt x="33941" y="69372"/>
                  <a:pt x="33990" y="69372"/>
                </a:cubicBezTo>
                <a:cubicBezTo>
                  <a:pt x="34011" y="69372"/>
                  <a:pt x="34029" y="69367"/>
                  <a:pt x="34040" y="69356"/>
                </a:cubicBezTo>
                <a:cubicBezTo>
                  <a:pt x="34265" y="69200"/>
                  <a:pt x="34491" y="69154"/>
                  <a:pt x="34713" y="69154"/>
                </a:cubicBezTo>
                <a:cubicBezTo>
                  <a:pt x="34980" y="69154"/>
                  <a:pt x="35242" y="69220"/>
                  <a:pt x="35493" y="69241"/>
                </a:cubicBezTo>
                <a:cubicBezTo>
                  <a:pt x="35679" y="69265"/>
                  <a:pt x="35865" y="69302"/>
                  <a:pt x="36034" y="69302"/>
                </a:cubicBezTo>
                <a:cubicBezTo>
                  <a:pt x="36143" y="69302"/>
                  <a:pt x="36244" y="69286"/>
                  <a:pt x="36334" y="69241"/>
                </a:cubicBezTo>
                <a:cubicBezTo>
                  <a:pt x="37023" y="68974"/>
                  <a:pt x="37788" y="69280"/>
                  <a:pt x="38400" y="68859"/>
                </a:cubicBezTo>
                <a:cubicBezTo>
                  <a:pt x="38581" y="68888"/>
                  <a:pt x="38761" y="68899"/>
                  <a:pt x="38938" y="68899"/>
                </a:cubicBezTo>
                <a:cubicBezTo>
                  <a:pt x="39468" y="68899"/>
                  <a:pt x="39977" y="68792"/>
                  <a:pt x="40465" y="68706"/>
                </a:cubicBezTo>
                <a:cubicBezTo>
                  <a:pt x="41268" y="68553"/>
                  <a:pt x="42071" y="68438"/>
                  <a:pt x="42760" y="68132"/>
                </a:cubicBezTo>
                <a:cubicBezTo>
                  <a:pt x="43831" y="67711"/>
                  <a:pt x="44940" y="67444"/>
                  <a:pt x="45972" y="67023"/>
                </a:cubicBezTo>
                <a:cubicBezTo>
                  <a:pt x="46661" y="66717"/>
                  <a:pt x="47388" y="66488"/>
                  <a:pt x="48076" y="66182"/>
                </a:cubicBezTo>
                <a:cubicBezTo>
                  <a:pt x="48420" y="66029"/>
                  <a:pt x="48726" y="65761"/>
                  <a:pt x="49147" y="65684"/>
                </a:cubicBezTo>
                <a:cubicBezTo>
                  <a:pt x="49453" y="65608"/>
                  <a:pt x="49721" y="65417"/>
                  <a:pt x="50027" y="65264"/>
                </a:cubicBezTo>
                <a:cubicBezTo>
                  <a:pt x="50638" y="64920"/>
                  <a:pt x="51250" y="64537"/>
                  <a:pt x="51862" y="64155"/>
                </a:cubicBezTo>
                <a:cubicBezTo>
                  <a:pt x="52054" y="64040"/>
                  <a:pt x="52245" y="63925"/>
                  <a:pt x="52436" y="63810"/>
                </a:cubicBezTo>
                <a:cubicBezTo>
                  <a:pt x="52780" y="63543"/>
                  <a:pt x="53124" y="63237"/>
                  <a:pt x="53507" y="63007"/>
                </a:cubicBezTo>
                <a:cubicBezTo>
                  <a:pt x="53851" y="62739"/>
                  <a:pt x="54310" y="62625"/>
                  <a:pt x="54693" y="62357"/>
                </a:cubicBezTo>
                <a:cubicBezTo>
                  <a:pt x="54960" y="62128"/>
                  <a:pt x="55343" y="62013"/>
                  <a:pt x="55496" y="61745"/>
                </a:cubicBezTo>
                <a:cubicBezTo>
                  <a:pt x="55687" y="61363"/>
                  <a:pt x="56069" y="61324"/>
                  <a:pt x="56337" y="61095"/>
                </a:cubicBezTo>
                <a:cubicBezTo>
                  <a:pt x="56375" y="61057"/>
                  <a:pt x="56414" y="61018"/>
                  <a:pt x="56414" y="60980"/>
                </a:cubicBezTo>
                <a:cubicBezTo>
                  <a:pt x="56873" y="60253"/>
                  <a:pt x="57829" y="60062"/>
                  <a:pt x="58173" y="59221"/>
                </a:cubicBezTo>
                <a:cubicBezTo>
                  <a:pt x="58938" y="58762"/>
                  <a:pt x="59359" y="57997"/>
                  <a:pt x="59894" y="57309"/>
                </a:cubicBezTo>
                <a:cubicBezTo>
                  <a:pt x="60200" y="56964"/>
                  <a:pt x="60506" y="56582"/>
                  <a:pt x="60812" y="56238"/>
                </a:cubicBezTo>
                <a:cubicBezTo>
                  <a:pt x="61003" y="55970"/>
                  <a:pt x="61271" y="55779"/>
                  <a:pt x="61424" y="55511"/>
                </a:cubicBezTo>
                <a:cubicBezTo>
                  <a:pt x="61692" y="55014"/>
                  <a:pt x="61959" y="54593"/>
                  <a:pt x="62342" y="54211"/>
                </a:cubicBezTo>
                <a:cubicBezTo>
                  <a:pt x="62495" y="54058"/>
                  <a:pt x="62648" y="53828"/>
                  <a:pt x="62724" y="53637"/>
                </a:cubicBezTo>
                <a:cubicBezTo>
                  <a:pt x="62915" y="53063"/>
                  <a:pt x="63260" y="52566"/>
                  <a:pt x="63604" y="52069"/>
                </a:cubicBezTo>
                <a:cubicBezTo>
                  <a:pt x="63680" y="51992"/>
                  <a:pt x="63795" y="51878"/>
                  <a:pt x="63795" y="51801"/>
                </a:cubicBezTo>
                <a:cubicBezTo>
                  <a:pt x="63795" y="51457"/>
                  <a:pt x="64025" y="51227"/>
                  <a:pt x="64216" y="50998"/>
                </a:cubicBezTo>
                <a:cubicBezTo>
                  <a:pt x="64369" y="50845"/>
                  <a:pt x="64407" y="50616"/>
                  <a:pt x="64484" y="50424"/>
                </a:cubicBezTo>
                <a:cubicBezTo>
                  <a:pt x="64560" y="50271"/>
                  <a:pt x="64598" y="50118"/>
                  <a:pt x="64713" y="50042"/>
                </a:cubicBezTo>
                <a:cubicBezTo>
                  <a:pt x="65210" y="49583"/>
                  <a:pt x="65401" y="48971"/>
                  <a:pt x="65631" y="48397"/>
                </a:cubicBezTo>
                <a:cubicBezTo>
                  <a:pt x="65784" y="47977"/>
                  <a:pt x="65937" y="47556"/>
                  <a:pt x="66128" y="47173"/>
                </a:cubicBezTo>
                <a:cubicBezTo>
                  <a:pt x="66281" y="46906"/>
                  <a:pt x="66511" y="46676"/>
                  <a:pt x="66396" y="46294"/>
                </a:cubicBezTo>
                <a:cubicBezTo>
                  <a:pt x="66319" y="46141"/>
                  <a:pt x="66511" y="45873"/>
                  <a:pt x="66625" y="45720"/>
                </a:cubicBezTo>
                <a:cubicBezTo>
                  <a:pt x="66778" y="45529"/>
                  <a:pt x="66893" y="45338"/>
                  <a:pt x="66817" y="45108"/>
                </a:cubicBezTo>
                <a:cubicBezTo>
                  <a:pt x="66740" y="44993"/>
                  <a:pt x="66778" y="44840"/>
                  <a:pt x="66817" y="44726"/>
                </a:cubicBezTo>
                <a:cubicBezTo>
                  <a:pt x="66970" y="44228"/>
                  <a:pt x="67199" y="43731"/>
                  <a:pt x="67314" y="43234"/>
                </a:cubicBezTo>
                <a:cubicBezTo>
                  <a:pt x="67428" y="42622"/>
                  <a:pt x="67543" y="42048"/>
                  <a:pt x="67696" y="41475"/>
                </a:cubicBezTo>
                <a:cubicBezTo>
                  <a:pt x="67811" y="41016"/>
                  <a:pt x="67696" y="40480"/>
                  <a:pt x="68079" y="40060"/>
                </a:cubicBezTo>
                <a:cubicBezTo>
                  <a:pt x="68117" y="40021"/>
                  <a:pt x="68155" y="39907"/>
                  <a:pt x="68155" y="39868"/>
                </a:cubicBezTo>
                <a:cubicBezTo>
                  <a:pt x="67849" y="39524"/>
                  <a:pt x="68270" y="39180"/>
                  <a:pt x="68117" y="38836"/>
                </a:cubicBezTo>
                <a:cubicBezTo>
                  <a:pt x="68079" y="38721"/>
                  <a:pt x="68117" y="38530"/>
                  <a:pt x="68193" y="38492"/>
                </a:cubicBezTo>
                <a:cubicBezTo>
                  <a:pt x="68461" y="38300"/>
                  <a:pt x="68423" y="38147"/>
                  <a:pt x="68232" y="37918"/>
                </a:cubicBezTo>
                <a:cubicBezTo>
                  <a:pt x="68193" y="37880"/>
                  <a:pt x="68193" y="37727"/>
                  <a:pt x="68232" y="37688"/>
                </a:cubicBezTo>
                <a:cubicBezTo>
                  <a:pt x="68423" y="37497"/>
                  <a:pt x="68385" y="37344"/>
                  <a:pt x="68385" y="37115"/>
                </a:cubicBezTo>
                <a:cubicBezTo>
                  <a:pt x="68385" y="36694"/>
                  <a:pt x="68576" y="36235"/>
                  <a:pt x="68499" y="35814"/>
                </a:cubicBezTo>
                <a:cubicBezTo>
                  <a:pt x="68423" y="35508"/>
                  <a:pt x="68767" y="35355"/>
                  <a:pt x="68652" y="35164"/>
                </a:cubicBezTo>
                <a:cubicBezTo>
                  <a:pt x="68461" y="34858"/>
                  <a:pt x="68844" y="34629"/>
                  <a:pt x="68729" y="34323"/>
                </a:cubicBezTo>
                <a:cubicBezTo>
                  <a:pt x="68576" y="33978"/>
                  <a:pt x="68729" y="33673"/>
                  <a:pt x="68844" y="33367"/>
                </a:cubicBezTo>
                <a:cubicBezTo>
                  <a:pt x="68844" y="33252"/>
                  <a:pt x="68844" y="33137"/>
                  <a:pt x="68805" y="33061"/>
                </a:cubicBezTo>
                <a:cubicBezTo>
                  <a:pt x="68614" y="32831"/>
                  <a:pt x="68614" y="32602"/>
                  <a:pt x="68729" y="32296"/>
                </a:cubicBezTo>
                <a:cubicBezTo>
                  <a:pt x="68805" y="32028"/>
                  <a:pt x="68538" y="31645"/>
                  <a:pt x="68920" y="31416"/>
                </a:cubicBezTo>
                <a:cubicBezTo>
                  <a:pt x="68920" y="31416"/>
                  <a:pt x="68882" y="31378"/>
                  <a:pt x="68882" y="31340"/>
                </a:cubicBezTo>
                <a:cubicBezTo>
                  <a:pt x="68461" y="31225"/>
                  <a:pt x="68805" y="31034"/>
                  <a:pt x="68844" y="30881"/>
                </a:cubicBezTo>
                <a:cubicBezTo>
                  <a:pt x="68882" y="30651"/>
                  <a:pt x="68958" y="30269"/>
                  <a:pt x="68920" y="30230"/>
                </a:cubicBezTo>
                <a:cubicBezTo>
                  <a:pt x="68538" y="30077"/>
                  <a:pt x="68882" y="29848"/>
                  <a:pt x="68805" y="29695"/>
                </a:cubicBezTo>
                <a:cubicBezTo>
                  <a:pt x="68691" y="29389"/>
                  <a:pt x="68538" y="29121"/>
                  <a:pt x="68652" y="28739"/>
                </a:cubicBezTo>
                <a:cubicBezTo>
                  <a:pt x="68767" y="28471"/>
                  <a:pt x="68538" y="28127"/>
                  <a:pt x="68385" y="27783"/>
                </a:cubicBezTo>
                <a:cubicBezTo>
                  <a:pt x="68308" y="27553"/>
                  <a:pt x="68117" y="27324"/>
                  <a:pt x="68002" y="27056"/>
                </a:cubicBezTo>
                <a:cubicBezTo>
                  <a:pt x="67926" y="26826"/>
                  <a:pt x="67887" y="26521"/>
                  <a:pt x="67811" y="26253"/>
                </a:cubicBezTo>
                <a:cubicBezTo>
                  <a:pt x="67811" y="26215"/>
                  <a:pt x="67811" y="26215"/>
                  <a:pt x="67811" y="26176"/>
                </a:cubicBezTo>
                <a:cubicBezTo>
                  <a:pt x="67581" y="26023"/>
                  <a:pt x="67467" y="25832"/>
                  <a:pt x="67620" y="25526"/>
                </a:cubicBezTo>
                <a:cubicBezTo>
                  <a:pt x="67658" y="25450"/>
                  <a:pt x="67658" y="25297"/>
                  <a:pt x="67581" y="25220"/>
                </a:cubicBezTo>
                <a:cubicBezTo>
                  <a:pt x="67084" y="24608"/>
                  <a:pt x="67314" y="23690"/>
                  <a:pt x="66740" y="23078"/>
                </a:cubicBezTo>
                <a:cubicBezTo>
                  <a:pt x="66740" y="23040"/>
                  <a:pt x="66702" y="23002"/>
                  <a:pt x="66702" y="22925"/>
                </a:cubicBezTo>
                <a:cubicBezTo>
                  <a:pt x="66664" y="22505"/>
                  <a:pt x="66511" y="22084"/>
                  <a:pt x="66434" y="21625"/>
                </a:cubicBezTo>
                <a:cubicBezTo>
                  <a:pt x="66396" y="21243"/>
                  <a:pt x="66128" y="20937"/>
                  <a:pt x="66090" y="20516"/>
                </a:cubicBezTo>
                <a:cubicBezTo>
                  <a:pt x="66052" y="20019"/>
                  <a:pt x="65669" y="19598"/>
                  <a:pt x="65440" y="19139"/>
                </a:cubicBezTo>
                <a:cubicBezTo>
                  <a:pt x="65401" y="19063"/>
                  <a:pt x="65287" y="18948"/>
                  <a:pt x="65287" y="18871"/>
                </a:cubicBezTo>
                <a:cubicBezTo>
                  <a:pt x="65401" y="18336"/>
                  <a:pt x="64828" y="18145"/>
                  <a:pt x="64751" y="17724"/>
                </a:cubicBezTo>
                <a:cubicBezTo>
                  <a:pt x="64101" y="17265"/>
                  <a:pt x="64025" y="16385"/>
                  <a:pt x="63413" y="15926"/>
                </a:cubicBezTo>
                <a:cubicBezTo>
                  <a:pt x="63336" y="15850"/>
                  <a:pt x="63374" y="15506"/>
                  <a:pt x="63298" y="15467"/>
                </a:cubicBezTo>
                <a:cubicBezTo>
                  <a:pt x="62915" y="15353"/>
                  <a:pt x="62915" y="15047"/>
                  <a:pt x="62839" y="14779"/>
                </a:cubicBezTo>
                <a:cubicBezTo>
                  <a:pt x="62762" y="14626"/>
                  <a:pt x="62686" y="14511"/>
                  <a:pt x="62609" y="14397"/>
                </a:cubicBezTo>
                <a:cubicBezTo>
                  <a:pt x="62189" y="13938"/>
                  <a:pt x="61806" y="13479"/>
                  <a:pt x="61386" y="13058"/>
                </a:cubicBezTo>
                <a:cubicBezTo>
                  <a:pt x="61156" y="12828"/>
                  <a:pt x="61080" y="12446"/>
                  <a:pt x="60659" y="12446"/>
                </a:cubicBezTo>
                <a:cubicBezTo>
                  <a:pt x="60582" y="12408"/>
                  <a:pt x="60506" y="12293"/>
                  <a:pt x="60468" y="12216"/>
                </a:cubicBezTo>
                <a:cubicBezTo>
                  <a:pt x="60429" y="11758"/>
                  <a:pt x="59856" y="11681"/>
                  <a:pt x="59741" y="11260"/>
                </a:cubicBezTo>
                <a:cubicBezTo>
                  <a:pt x="59665" y="11031"/>
                  <a:pt x="59435" y="10878"/>
                  <a:pt x="59244" y="10687"/>
                </a:cubicBezTo>
                <a:cubicBezTo>
                  <a:pt x="58976" y="10381"/>
                  <a:pt x="58747" y="10075"/>
                  <a:pt x="58441" y="9807"/>
                </a:cubicBezTo>
                <a:cubicBezTo>
                  <a:pt x="58020" y="9425"/>
                  <a:pt x="57714" y="8966"/>
                  <a:pt x="57293" y="8621"/>
                </a:cubicBezTo>
                <a:cubicBezTo>
                  <a:pt x="56567" y="8048"/>
                  <a:pt x="55763" y="7627"/>
                  <a:pt x="55075" y="6977"/>
                </a:cubicBezTo>
                <a:cubicBezTo>
                  <a:pt x="54769" y="6671"/>
                  <a:pt x="54387" y="6480"/>
                  <a:pt x="54004" y="6250"/>
                </a:cubicBezTo>
                <a:cubicBezTo>
                  <a:pt x="53681" y="6071"/>
                  <a:pt x="53594" y="5555"/>
                  <a:pt x="53142" y="5555"/>
                </a:cubicBezTo>
                <a:cubicBezTo>
                  <a:pt x="53112" y="5555"/>
                  <a:pt x="53081" y="5557"/>
                  <a:pt x="53048" y="5562"/>
                </a:cubicBezTo>
                <a:cubicBezTo>
                  <a:pt x="52398" y="4835"/>
                  <a:pt x="51442" y="4606"/>
                  <a:pt x="50753" y="4032"/>
                </a:cubicBezTo>
                <a:cubicBezTo>
                  <a:pt x="50409" y="3726"/>
                  <a:pt x="49950" y="3726"/>
                  <a:pt x="49721" y="3343"/>
                </a:cubicBezTo>
                <a:cubicBezTo>
                  <a:pt x="49529" y="3076"/>
                  <a:pt x="49223" y="2923"/>
                  <a:pt x="48994" y="2808"/>
                </a:cubicBezTo>
                <a:cubicBezTo>
                  <a:pt x="48618" y="2603"/>
                  <a:pt x="48242" y="2337"/>
                  <a:pt x="47785" y="2337"/>
                </a:cubicBezTo>
                <a:cubicBezTo>
                  <a:pt x="47730" y="2337"/>
                  <a:pt x="47674" y="2341"/>
                  <a:pt x="47617" y="2349"/>
                </a:cubicBezTo>
                <a:cubicBezTo>
                  <a:pt x="47593" y="2352"/>
                  <a:pt x="47569" y="2354"/>
                  <a:pt x="47544" y="2354"/>
                </a:cubicBezTo>
                <a:cubicBezTo>
                  <a:pt x="47295" y="2354"/>
                  <a:pt x="47019" y="2189"/>
                  <a:pt x="46776" y="2120"/>
                </a:cubicBezTo>
                <a:cubicBezTo>
                  <a:pt x="46852" y="1661"/>
                  <a:pt x="46470" y="1814"/>
                  <a:pt x="46278" y="1699"/>
                </a:cubicBezTo>
                <a:cubicBezTo>
                  <a:pt x="46094" y="1596"/>
                  <a:pt x="45942" y="1560"/>
                  <a:pt x="45794" y="1560"/>
                </a:cubicBezTo>
                <a:cubicBezTo>
                  <a:pt x="45666" y="1560"/>
                  <a:pt x="45541" y="1587"/>
                  <a:pt x="45399" y="1622"/>
                </a:cubicBezTo>
                <a:cubicBezTo>
                  <a:pt x="45361" y="1641"/>
                  <a:pt x="45313" y="1651"/>
                  <a:pt x="45265" y="1651"/>
                </a:cubicBezTo>
                <a:cubicBezTo>
                  <a:pt x="45217" y="1651"/>
                  <a:pt x="45169" y="1641"/>
                  <a:pt x="45131" y="1622"/>
                </a:cubicBezTo>
                <a:cubicBezTo>
                  <a:pt x="44825" y="1584"/>
                  <a:pt x="44519" y="1508"/>
                  <a:pt x="44213" y="1431"/>
                </a:cubicBezTo>
                <a:cubicBezTo>
                  <a:pt x="43792" y="1355"/>
                  <a:pt x="43372" y="1240"/>
                  <a:pt x="42951" y="1163"/>
                </a:cubicBezTo>
                <a:cubicBezTo>
                  <a:pt x="42492" y="1049"/>
                  <a:pt x="41995" y="1125"/>
                  <a:pt x="41574" y="857"/>
                </a:cubicBezTo>
                <a:cubicBezTo>
                  <a:pt x="41458" y="927"/>
                  <a:pt x="41349" y="954"/>
                  <a:pt x="41245" y="954"/>
                </a:cubicBezTo>
                <a:cubicBezTo>
                  <a:pt x="41006" y="954"/>
                  <a:pt x="40793" y="811"/>
                  <a:pt x="40580" y="704"/>
                </a:cubicBezTo>
                <a:cubicBezTo>
                  <a:pt x="40542" y="692"/>
                  <a:pt x="40495" y="687"/>
                  <a:pt x="40444" y="687"/>
                </a:cubicBezTo>
                <a:cubicBezTo>
                  <a:pt x="40342" y="687"/>
                  <a:pt x="40223" y="704"/>
                  <a:pt x="40121" y="704"/>
                </a:cubicBezTo>
                <a:cubicBezTo>
                  <a:pt x="40063" y="704"/>
                  <a:pt x="39968" y="714"/>
                  <a:pt x="39882" y="714"/>
                </a:cubicBezTo>
                <a:cubicBezTo>
                  <a:pt x="39796" y="714"/>
                  <a:pt x="39719" y="704"/>
                  <a:pt x="39700" y="666"/>
                </a:cubicBezTo>
                <a:cubicBezTo>
                  <a:pt x="39587" y="424"/>
                  <a:pt x="39447" y="359"/>
                  <a:pt x="39294" y="359"/>
                </a:cubicBezTo>
                <a:cubicBezTo>
                  <a:pt x="39116" y="359"/>
                  <a:pt x="38922" y="446"/>
                  <a:pt x="38732" y="446"/>
                </a:cubicBezTo>
                <a:cubicBezTo>
                  <a:pt x="38697" y="446"/>
                  <a:pt x="38663" y="443"/>
                  <a:pt x="38629" y="437"/>
                </a:cubicBezTo>
                <a:cubicBezTo>
                  <a:pt x="38094" y="360"/>
                  <a:pt x="37520" y="322"/>
                  <a:pt x="36985" y="207"/>
                </a:cubicBezTo>
                <a:cubicBezTo>
                  <a:pt x="36803" y="181"/>
                  <a:pt x="36657" y="85"/>
                  <a:pt x="36475" y="85"/>
                </a:cubicBezTo>
                <a:cubicBezTo>
                  <a:pt x="36388" y="85"/>
                  <a:pt x="36293" y="107"/>
                  <a:pt x="36182" y="169"/>
                </a:cubicBezTo>
                <a:cubicBezTo>
                  <a:pt x="36150" y="182"/>
                  <a:pt x="36115" y="187"/>
                  <a:pt x="36076" y="187"/>
                </a:cubicBezTo>
                <a:cubicBezTo>
                  <a:pt x="35879" y="187"/>
                  <a:pt x="35602" y="48"/>
                  <a:pt x="35378" y="16"/>
                </a:cubicBezTo>
                <a:cubicBezTo>
                  <a:pt x="35356" y="5"/>
                  <a:pt x="35334" y="0"/>
                  <a:pt x="35311" y="0"/>
                </a:cubicBezTo>
                <a:close/>
              </a:path>
            </a:pathLst>
          </a:custGeom>
          <a:solidFill>
            <a:schemeClr val="accent2">
              <a:alpha val="6257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2" name="Google Shape;52;p15"/>
          <p:cNvSpPr/>
          <p:nvPr/>
        </p:nvSpPr>
        <p:spPr>
          <a:xfrm>
            <a:off x="1277499" y="5993511"/>
            <a:ext cx="1095" cy="28"/>
          </a:xfrm>
          <a:custGeom>
            <a:avLst/>
            <a:gdLst/>
            <a:ahLst/>
            <a:cxnLst/>
            <a:rect l="l" t="t" r="r" b="b"/>
            <a:pathLst>
              <a:path w="40" h="1" extrusionOk="0">
                <a:moveTo>
                  <a:pt x="1" y="1"/>
                </a:moveTo>
                <a:cubicBezTo>
                  <a:pt x="1" y="1"/>
                  <a:pt x="39" y="1"/>
                  <a:pt x="39" y="1"/>
                </a:cubicBezTo>
                <a:cubicBezTo>
                  <a:pt x="39" y="1"/>
                  <a:pt x="39" y="1"/>
                  <a:pt x="39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3" name="Google Shape;53;p15"/>
          <p:cNvSpPr/>
          <p:nvPr/>
        </p:nvSpPr>
        <p:spPr>
          <a:xfrm>
            <a:off x="-6268" y="3319398"/>
            <a:ext cx="2159535" cy="2823044"/>
          </a:xfrm>
          <a:custGeom>
            <a:avLst/>
            <a:gdLst/>
            <a:ahLst/>
            <a:cxnLst/>
            <a:rect l="l" t="t" r="r" b="b"/>
            <a:pathLst>
              <a:path w="78940" h="103194" extrusionOk="0">
                <a:moveTo>
                  <a:pt x="24128" y="0"/>
                </a:moveTo>
                <a:cubicBezTo>
                  <a:pt x="23645" y="0"/>
                  <a:pt x="23163" y="158"/>
                  <a:pt x="22680" y="185"/>
                </a:cubicBezTo>
                <a:cubicBezTo>
                  <a:pt x="21991" y="224"/>
                  <a:pt x="21265" y="185"/>
                  <a:pt x="20538" y="338"/>
                </a:cubicBezTo>
                <a:cubicBezTo>
                  <a:pt x="19964" y="491"/>
                  <a:pt x="19276" y="338"/>
                  <a:pt x="18664" y="568"/>
                </a:cubicBezTo>
                <a:cubicBezTo>
                  <a:pt x="18588" y="606"/>
                  <a:pt x="18492" y="616"/>
                  <a:pt x="18392" y="616"/>
                </a:cubicBezTo>
                <a:cubicBezTo>
                  <a:pt x="18291" y="616"/>
                  <a:pt x="18186" y="606"/>
                  <a:pt x="18090" y="606"/>
                </a:cubicBezTo>
                <a:cubicBezTo>
                  <a:pt x="17976" y="606"/>
                  <a:pt x="17899" y="568"/>
                  <a:pt x="17823" y="568"/>
                </a:cubicBezTo>
                <a:cubicBezTo>
                  <a:pt x="17249" y="682"/>
                  <a:pt x="16713" y="797"/>
                  <a:pt x="16178" y="950"/>
                </a:cubicBezTo>
                <a:cubicBezTo>
                  <a:pt x="15107" y="1180"/>
                  <a:pt x="14036" y="1294"/>
                  <a:pt x="13004" y="1639"/>
                </a:cubicBezTo>
                <a:cubicBezTo>
                  <a:pt x="12736" y="1753"/>
                  <a:pt x="12430" y="1792"/>
                  <a:pt x="12162" y="1868"/>
                </a:cubicBezTo>
                <a:cubicBezTo>
                  <a:pt x="12009" y="1906"/>
                  <a:pt x="11856" y="1945"/>
                  <a:pt x="11703" y="1983"/>
                </a:cubicBezTo>
                <a:cubicBezTo>
                  <a:pt x="11206" y="2174"/>
                  <a:pt x="10671" y="2404"/>
                  <a:pt x="10173" y="2557"/>
                </a:cubicBezTo>
                <a:cubicBezTo>
                  <a:pt x="9600" y="2748"/>
                  <a:pt x="8988" y="2863"/>
                  <a:pt x="8452" y="3054"/>
                </a:cubicBezTo>
                <a:cubicBezTo>
                  <a:pt x="7840" y="3283"/>
                  <a:pt x="7267" y="3627"/>
                  <a:pt x="6693" y="3780"/>
                </a:cubicBezTo>
                <a:cubicBezTo>
                  <a:pt x="5966" y="3972"/>
                  <a:pt x="5354" y="4239"/>
                  <a:pt x="4781" y="4622"/>
                </a:cubicBezTo>
                <a:cubicBezTo>
                  <a:pt x="4666" y="4698"/>
                  <a:pt x="4551" y="4813"/>
                  <a:pt x="4475" y="4813"/>
                </a:cubicBezTo>
                <a:cubicBezTo>
                  <a:pt x="4416" y="4798"/>
                  <a:pt x="4360" y="4792"/>
                  <a:pt x="4307" y="4792"/>
                </a:cubicBezTo>
                <a:cubicBezTo>
                  <a:pt x="3830" y="4792"/>
                  <a:pt x="3539" y="5316"/>
                  <a:pt x="3101" y="5316"/>
                </a:cubicBezTo>
                <a:cubicBezTo>
                  <a:pt x="3075" y="5316"/>
                  <a:pt x="3048" y="5314"/>
                  <a:pt x="3021" y="5310"/>
                </a:cubicBezTo>
                <a:cubicBezTo>
                  <a:pt x="2677" y="5846"/>
                  <a:pt x="1951" y="5654"/>
                  <a:pt x="1568" y="6152"/>
                </a:cubicBezTo>
                <a:cubicBezTo>
                  <a:pt x="1526" y="6147"/>
                  <a:pt x="1486" y="6145"/>
                  <a:pt x="1448" y="6145"/>
                </a:cubicBezTo>
                <a:cubicBezTo>
                  <a:pt x="1169" y="6145"/>
                  <a:pt x="976" y="6270"/>
                  <a:pt x="841" y="6572"/>
                </a:cubicBezTo>
                <a:cubicBezTo>
                  <a:pt x="803" y="6649"/>
                  <a:pt x="688" y="6687"/>
                  <a:pt x="650" y="6687"/>
                </a:cubicBezTo>
                <a:cubicBezTo>
                  <a:pt x="590" y="6670"/>
                  <a:pt x="533" y="6662"/>
                  <a:pt x="480" y="6662"/>
                </a:cubicBezTo>
                <a:cubicBezTo>
                  <a:pt x="296" y="6662"/>
                  <a:pt x="148" y="6751"/>
                  <a:pt x="0" y="6840"/>
                </a:cubicBezTo>
                <a:lnTo>
                  <a:pt x="0" y="8714"/>
                </a:lnTo>
                <a:cubicBezTo>
                  <a:pt x="153" y="8638"/>
                  <a:pt x="306" y="8523"/>
                  <a:pt x="459" y="8446"/>
                </a:cubicBezTo>
                <a:cubicBezTo>
                  <a:pt x="727" y="8332"/>
                  <a:pt x="1071" y="8332"/>
                  <a:pt x="1300" y="8102"/>
                </a:cubicBezTo>
                <a:cubicBezTo>
                  <a:pt x="1492" y="7873"/>
                  <a:pt x="1798" y="7720"/>
                  <a:pt x="2065" y="7529"/>
                </a:cubicBezTo>
                <a:cubicBezTo>
                  <a:pt x="2218" y="7452"/>
                  <a:pt x="2409" y="7376"/>
                  <a:pt x="2562" y="7223"/>
                </a:cubicBezTo>
                <a:cubicBezTo>
                  <a:pt x="2792" y="6993"/>
                  <a:pt x="3251" y="7261"/>
                  <a:pt x="3366" y="6802"/>
                </a:cubicBezTo>
                <a:cubicBezTo>
                  <a:pt x="3710" y="6802"/>
                  <a:pt x="3863" y="6419"/>
                  <a:pt x="4054" y="6381"/>
                </a:cubicBezTo>
                <a:cubicBezTo>
                  <a:pt x="4551" y="6266"/>
                  <a:pt x="4857" y="5922"/>
                  <a:pt x="5278" y="5731"/>
                </a:cubicBezTo>
                <a:cubicBezTo>
                  <a:pt x="5546" y="5616"/>
                  <a:pt x="5890" y="5693"/>
                  <a:pt x="6005" y="5310"/>
                </a:cubicBezTo>
                <a:cubicBezTo>
                  <a:pt x="6005" y="5310"/>
                  <a:pt x="6158" y="5310"/>
                  <a:pt x="6196" y="5349"/>
                </a:cubicBezTo>
                <a:cubicBezTo>
                  <a:pt x="6272" y="5349"/>
                  <a:pt x="6349" y="5366"/>
                  <a:pt x="6403" y="5366"/>
                </a:cubicBezTo>
                <a:cubicBezTo>
                  <a:pt x="6430" y="5366"/>
                  <a:pt x="6451" y="5361"/>
                  <a:pt x="6464" y="5349"/>
                </a:cubicBezTo>
                <a:cubicBezTo>
                  <a:pt x="6961" y="5004"/>
                  <a:pt x="7496" y="4737"/>
                  <a:pt x="8108" y="4584"/>
                </a:cubicBezTo>
                <a:cubicBezTo>
                  <a:pt x="8261" y="4507"/>
                  <a:pt x="8414" y="4431"/>
                  <a:pt x="8529" y="4316"/>
                </a:cubicBezTo>
                <a:cubicBezTo>
                  <a:pt x="8598" y="4247"/>
                  <a:pt x="8667" y="4192"/>
                  <a:pt x="8735" y="4192"/>
                </a:cubicBezTo>
                <a:cubicBezTo>
                  <a:pt x="8781" y="4192"/>
                  <a:pt x="8827" y="4216"/>
                  <a:pt x="8873" y="4278"/>
                </a:cubicBezTo>
                <a:cubicBezTo>
                  <a:pt x="8900" y="4305"/>
                  <a:pt x="8985" y="4332"/>
                  <a:pt x="9032" y="4332"/>
                </a:cubicBezTo>
                <a:cubicBezTo>
                  <a:pt x="9051" y="4332"/>
                  <a:pt x="9064" y="4327"/>
                  <a:pt x="9064" y="4316"/>
                </a:cubicBezTo>
                <a:cubicBezTo>
                  <a:pt x="9205" y="4128"/>
                  <a:pt x="9345" y="4013"/>
                  <a:pt x="9503" y="4013"/>
                </a:cubicBezTo>
                <a:cubicBezTo>
                  <a:pt x="9604" y="4013"/>
                  <a:pt x="9711" y="4059"/>
                  <a:pt x="9829" y="4163"/>
                </a:cubicBezTo>
                <a:cubicBezTo>
                  <a:pt x="9867" y="4163"/>
                  <a:pt x="10020" y="4125"/>
                  <a:pt x="10059" y="4048"/>
                </a:cubicBezTo>
                <a:cubicBezTo>
                  <a:pt x="10212" y="3933"/>
                  <a:pt x="10288" y="3780"/>
                  <a:pt x="10403" y="3627"/>
                </a:cubicBezTo>
                <a:cubicBezTo>
                  <a:pt x="10522" y="3491"/>
                  <a:pt x="10596" y="3423"/>
                  <a:pt x="10654" y="3423"/>
                </a:cubicBezTo>
                <a:cubicBezTo>
                  <a:pt x="10727" y="3423"/>
                  <a:pt x="10777" y="3530"/>
                  <a:pt x="10862" y="3742"/>
                </a:cubicBezTo>
                <a:cubicBezTo>
                  <a:pt x="10900" y="3780"/>
                  <a:pt x="10938" y="3819"/>
                  <a:pt x="10977" y="3857"/>
                </a:cubicBezTo>
                <a:cubicBezTo>
                  <a:pt x="11015" y="3780"/>
                  <a:pt x="11015" y="3666"/>
                  <a:pt x="11053" y="3666"/>
                </a:cubicBezTo>
                <a:cubicBezTo>
                  <a:pt x="11206" y="3589"/>
                  <a:pt x="11397" y="3513"/>
                  <a:pt x="11589" y="3513"/>
                </a:cubicBezTo>
                <a:cubicBezTo>
                  <a:pt x="11933" y="3513"/>
                  <a:pt x="12162" y="3360"/>
                  <a:pt x="12315" y="3054"/>
                </a:cubicBezTo>
                <a:cubicBezTo>
                  <a:pt x="12360" y="2918"/>
                  <a:pt x="12419" y="2822"/>
                  <a:pt x="12499" y="2822"/>
                </a:cubicBezTo>
                <a:cubicBezTo>
                  <a:pt x="12554" y="2822"/>
                  <a:pt x="12620" y="2868"/>
                  <a:pt x="12698" y="2977"/>
                </a:cubicBezTo>
                <a:cubicBezTo>
                  <a:pt x="12800" y="3079"/>
                  <a:pt x="12919" y="3147"/>
                  <a:pt x="13055" y="3147"/>
                </a:cubicBezTo>
                <a:cubicBezTo>
                  <a:pt x="13123" y="3147"/>
                  <a:pt x="13195" y="3130"/>
                  <a:pt x="13271" y="3092"/>
                </a:cubicBezTo>
                <a:cubicBezTo>
                  <a:pt x="13616" y="2939"/>
                  <a:pt x="14075" y="3130"/>
                  <a:pt x="14380" y="2748"/>
                </a:cubicBezTo>
                <a:cubicBezTo>
                  <a:pt x="14456" y="2775"/>
                  <a:pt x="14529" y="2787"/>
                  <a:pt x="14601" y="2787"/>
                </a:cubicBezTo>
                <a:cubicBezTo>
                  <a:pt x="14926" y="2787"/>
                  <a:pt x="15214" y="2550"/>
                  <a:pt x="15528" y="2518"/>
                </a:cubicBezTo>
                <a:cubicBezTo>
                  <a:pt x="16178" y="2480"/>
                  <a:pt x="16866" y="2289"/>
                  <a:pt x="17517" y="2212"/>
                </a:cubicBezTo>
                <a:cubicBezTo>
                  <a:pt x="17631" y="2174"/>
                  <a:pt x="17784" y="2212"/>
                  <a:pt x="17861" y="2136"/>
                </a:cubicBezTo>
                <a:cubicBezTo>
                  <a:pt x="18243" y="1945"/>
                  <a:pt x="18626" y="1945"/>
                  <a:pt x="19046" y="1868"/>
                </a:cubicBezTo>
                <a:cubicBezTo>
                  <a:pt x="19090" y="1863"/>
                  <a:pt x="19136" y="1861"/>
                  <a:pt x="19182" y="1861"/>
                </a:cubicBezTo>
                <a:cubicBezTo>
                  <a:pt x="19302" y="1861"/>
                  <a:pt x="19429" y="1873"/>
                  <a:pt x="19556" y="1873"/>
                </a:cubicBezTo>
                <a:cubicBezTo>
                  <a:pt x="19762" y="1873"/>
                  <a:pt x="19970" y="1842"/>
                  <a:pt x="20156" y="1677"/>
                </a:cubicBezTo>
                <a:cubicBezTo>
                  <a:pt x="20204" y="1604"/>
                  <a:pt x="20314" y="1578"/>
                  <a:pt x="20437" y="1578"/>
                </a:cubicBezTo>
                <a:cubicBezTo>
                  <a:pt x="20508" y="1578"/>
                  <a:pt x="20583" y="1586"/>
                  <a:pt x="20653" y="1600"/>
                </a:cubicBezTo>
                <a:cubicBezTo>
                  <a:pt x="20921" y="1610"/>
                  <a:pt x="21191" y="1615"/>
                  <a:pt x="21462" y="1615"/>
                </a:cubicBezTo>
                <a:cubicBezTo>
                  <a:pt x="22276" y="1615"/>
                  <a:pt x="23101" y="1572"/>
                  <a:pt x="23904" y="1486"/>
                </a:cubicBezTo>
                <a:cubicBezTo>
                  <a:pt x="23986" y="1480"/>
                  <a:pt x="24068" y="1478"/>
                  <a:pt x="24150" y="1478"/>
                </a:cubicBezTo>
                <a:cubicBezTo>
                  <a:pt x="24641" y="1478"/>
                  <a:pt x="25133" y="1562"/>
                  <a:pt x="25625" y="1562"/>
                </a:cubicBezTo>
                <a:cubicBezTo>
                  <a:pt x="26122" y="1600"/>
                  <a:pt x="26696" y="1562"/>
                  <a:pt x="27155" y="1639"/>
                </a:cubicBezTo>
                <a:cubicBezTo>
                  <a:pt x="27292" y="1658"/>
                  <a:pt x="27428" y="1666"/>
                  <a:pt x="27563" y="1666"/>
                </a:cubicBezTo>
                <a:cubicBezTo>
                  <a:pt x="27962" y="1666"/>
                  <a:pt x="28353" y="1602"/>
                  <a:pt x="28741" y="1602"/>
                </a:cubicBezTo>
                <a:cubicBezTo>
                  <a:pt x="28991" y="1602"/>
                  <a:pt x="29239" y="1628"/>
                  <a:pt x="29488" y="1715"/>
                </a:cubicBezTo>
                <a:cubicBezTo>
                  <a:pt x="29579" y="1745"/>
                  <a:pt x="29677" y="1757"/>
                  <a:pt x="29781" y="1757"/>
                </a:cubicBezTo>
                <a:cubicBezTo>
                  <a:pt x="30069" y="1757"/>
                  <a:pt x="30392" y="1667"/>
                  <a:pt x="30673" y="1639"/>
                </a:cubicBezTo>
                <a:cubicBezTo>
                  <a:pt x="30826" y="1639"/>
                  <a:pt x="30979" y="1639"/>
                  <a:pt x="31056" y="1715"/>
                </a:cubicBezTo>
                <a:cubicBezTo>
                  <a:pt x="31362" y="1906"/>
                  <a:pt x="31668" y="1830"/>
                  <a:pt x="31974" y="1868"/>
                </a:cubicBezTo>
                <a:cubicBezTo>
                  <a:pt x="32968" y="1945"/>
                  <a:pt x="34001" y="1983"/>
                  <a:pt x="34957" y="2212"/>
                </a:cubicBezTo>
                <a:cubicBezTo>
                  <a:pt x="35913" y="2480"/>
                  <a:pt x="36907" y="2404"/>
                  <a:pt x="37864" y="2671"/>
                </a:cubicBezTo>
                <a:cubicBezTo>
                  <a:pt x="38437" y="2824"/>
                  <a:pt x="38973" y="3016"/>
                  <a:pt x="39508" y="3168"/>
                </a:cubicBezTo>
                <a:cubicBezTo>
                  <a:pt x="40005" y="3283"/>
                  <a:pt x="40464" y="3360"/>
                  <a:pt x="40961" y="3474"/>
                </a:cubicBezTo>
                <a:cubicBezTo>
                  <a:pt x="41191" y="3551"/>
                  <a:pt x="41382" y="3666"/>
                  <a:pt x="41612" y="3780"/>
                </a:cubicBezTo>
                <a:cubicBezTo>
                  <a:pt x="42185" y="4048"/>
                  <a:pt x="42797" y="4201"/>
                  <a:pt x="43447" y="4392"/>
                </a:cubicBezTo>
                <a:cubicBezTo>
                  <a:pt x="43868" y="4507"/>
                  <a:pt x="44327" y="4545"/>
                  <a:pt x="44710" y="4775"/>
                </a:cubicBezTo>
                <a:cubicBezTo>
                  <a:pt x="45398" y="5157"/>
                  <a:pt x="46125" y="5387"/>
                  <a:pt x="46890" y="5616"/>
                </a:cubicBezTo>
                <a:cubicBezTo>
                  <a:pt x="47043" y="5654"/>
                  <a:pt x="47043" y="5731"/>
                  <a:pt x="47043" y="5884"/>
                </a:cubicBezTo>
                <a:cubicBezTo>
                  <a:pt x="47021" y="5969"/>
                  <a:pt x="47047" y="5995"/>
                  <a:pt x="47094" y="5995"/>
                </a:cubicBezTo>
                <a:cubicBezTo>
                  <a:pt x="47131" y="5995"/>
                  <a:pt x="47182" y="5978"/>
                  <a:pt x="47234" y="5960"/>
                </a:cubicBezTo>
                <a:cubicBezTo>
                  <a:pt x="47272" y="5922"/>
                  <a:pt x="47349" y="5884"/>
                  <a:pt x="47349" y="5884"/>
                </a:cubicBezTo>
                <a:cubicBezTo>
                  <a:pt x="47527" y="6027"/>
                  <a:pt x="47673" y="6270"/>
                  <a:pt x="47816" y="6270"/>
                </a:cubicBezTo>
                <a:cubicBezTo>
                  <a:pt x="47826" y="6270"/>
                  <a:pt x="47836" y="6269"/>
                  <a:pt x="47846" y="6266"/>
                </a:cubicBezTo>
                <a:cubicBezTo>
                  <a:pt x="47938" y="6266"/>
                  <a:pt x="48017" y="6254"/>
                  <a:pt x="48092" y="6254"/>
                </a:cubicBezTo>
                <a:cubicBezTo>
                  <a:pt x="48204" y="6254"/>
                  <a:pt x="48305" y="6282"/>
                  <a:pt x="48419" y="6419"/>
                </a:cubicBezTo>
                <a:cubicBezTo>
                  <a:pt x="48572" y="6649"/>
                  <a:pt x="48917" y="6572"/>
                  <a:pt x="49146" y="6878"/>
                </a:cubicBezTo>
                <a:cubicBezTo>
                  <a:pt x="49299" y="7070"/>
                  <a:pt x="49605" y="7299"/>
                  <a:pt x="49949" y="7299"/>
                </a:cubicBezTo>
                <a:cubicBezTo>
                  <a:pt x="50217" y="7337"/>
                  <a:pt x="50408" y="7605"/>
                  <a:pt x="50676" y="7720"/>
                </a:cubicBezTo>
                <a:cubicBezTo>
                  <a:pt x="50878" y="7854"/>
                  <a:pt x="51050" y="8077"/>
                  <a:pt x="51322" y="8077"/>
                </a:cubicBezTo>
                <a:cubicBezTo>
                  <a:pt x="51360" y="8077"/>
                  <a:pt x="51399" y="8073"/>
                  <a:pt x="51441" y="8064"/>
                </a:cubicBezTo>
                <a:cubicBezTo>
                  <a:pt x="51517" y="8064"/>
                  <a:pt x="51632" y="8102"/>
                  <a:pt x="51709" y="8179"/>
                </a:cubicBezTo>
                <a:cubicBezTo>
                  <a:pt x="52091" y="8752"/>
                  <a:pt x="52779" y="8905"/>
                  <a:pt x="53315" y="9250"/>
                </a:cubicBezTo>
                <a:cubicBezTo>
                  <a:pt x="53583" y="9441"/>
                  <a:pt x="53927" y="9403"/>
                  <a:pt x="54156" y="9709"/>
                </a:cubicBezTo>
                <a:cubicBezTo>
                  <a:pt x="54348" y="9938"/>
                  <a:pt x="54692" y="10015"/>
                  <a:pt x="54959" y="10206"/>
                </a:cubicBezTo>
                <a:cubicBezTo>
                  <a:pt x="55265" y="10359"/>
                  <a:pt x="55571" y="10588"/>
                  <a:pt x="55839" y="10741"/>
                </a:cubicBezTo>
                <a:cubicBezTo>
                  <a:pt x="56298" y="11009"/>
                  <a:pt x="56719" y="11238"/>
                  <a:pt x="57178" y="11506"/>
                </a:cubicBezTo>
                <a:cubicBezTo>
                  <a:pt x="57445" y="11659"/>
                  <a:pt x="57790" y="11736"/>
                  <a:pt x="57828" y="12118"/>
                </a:cubicBezTo>
                <a:cubicBezTo>
                  <a:pt x="57828" y="12156"/>
                  <a:pt x="57904" y="12233"/>
                  <a:pt x="57943" y="12233"/>
                </a:cubicBezTo>
                <a:cubicBezTo>
                  <a:pt x="58708" y="12233"/>
                  <a:pt x="58899" y="13189"/>
                  <a:pt x="59587" y="13342"/>
                </a:cubicBezTo>
                <a:cubicBezTo>
                  <a:pt x="59702" y="13648"/>
                  <a:pt x="59970" y="13801"/>
                  <a:pt x="60237" y="13992"/>
                </a:cubicBezTo>
                <a:cubicBezTo>
                  <a:pt x="60303" y="14058"/>
                  <a:pt x="60369" y="14153"/>
                  <a:pt x="60460" y="14153"/>
                </a:cubicBezTo>
                <a:cubicBezTo>
                  <a:pt x="60474" y="14153"/>
                  <a:pt x="60489" y="14150"/>
                  <a:pt x="60505" y="14145"/>
                </a:cubicBezTo>
                <a:cubicBezTo>
                  <a:pt x="60563" y="14126"/>
                  <a:pt x="60608" y="14116"/>
                  <a:pt x="60644" y="14116"/>
                </a:cubicBezTo>
                <a:cubicBezTo>
                  <a:pt x="60754" y="14116"/>
                  <a:pt x="60782" y="14202"/>
                  <a:pt x="60811" y="14375"/>
                </a:cubicBezTo>
                <a:cubicBezTo>
                  <a:pt x="60811" y="14562"/>
                  <a:pt x="60862" y="14749"/>
                  <a:pt x="61068" y="14749"/>
                </a:cubicBezTo>
                <a:cubicBezTo>
                  <a:pt x="61114" y="14749"/>
                  <a:pt x="61169" y="14740"/>
                  <a:pt x="61232" y="14719"/>
                </a:cubicBezTo>
                <a:cubicBezTo>
                  <a:pt x="61308" y="14719"/>
                  <a:pt x="61385" y="14757"/>
                  <a:pt x="61423" y="14795"/>
                </a:cubicBezTo>
                <a:cubicBezTo>
                  <a:pt x="61079" y="15331"/>
                  <a:pt x="61844" y="15063"/>
                  <a:pt x="61882" y="15407"/>
                </a:cubicBezTo>
                <a:cubicBezTo>
                  <a:pt x="61920" y="15675"/>
                  <a:pt x="62264" y="15866"/>
                  <a:pt x="62494" y="16096"/>
                </a:cubicBezTo>
                <a:cubicBezTo>
                  <a:pt x="62570" y="16172"/>
                  <a:pt x="62723" y="16210"/>
                  <a:pt x="62838" y="16287"/>
                </a:cubicBezTo>
                <a:cubicBezTo>
                  <a:pt x="62915" y="16325"/>
                  <a:pt x="63106" y="16402"/>
                  <a:pt x="63106" y="16440"/>
                </a:cubicBezTo>
                <a:cubicBezTo>
                  <a:pt x="63068" y="16708"/>
                  <a:pt x="63259" y="16746"/>
                  <a:pt x="63450" y="16861"/>
                </a:cubicBezTo>
                <a:cubicBezTo>
                  <a:pt x="63527" y="16899"/>
                  <a:pt x="63603" y="16975"/>
                  <a:pt x="63603" y="17052"/>
                </a:cubicBezTo>
                <a:cubicBezTo>
                  <a:pt x="63756" y="17587"/>
                  <a:pt x="63909" y="17778"/>
                  <a:pt x="64406" y="18008"/>
                </a:cubicBezTo>
                <a:cubicBezTo>
                  <a:pt x="64483" y="18046"/>
                  <a:pt x="64636" y="18123"/>
                  <a:pt x="64712" y="18237"/>
                </a:cubicBezTo>
                <a:cubicBezTo>
                  <a:pt x="64980" y="18696"/>
                  <a:pt x="65209" y="18926"/>
                  <a:pt x="65515" y="19155"/>
                </a:cubicBezTo>
                <a:cubicBezTo>
                  <a:pt x="65592" y="19232"/>
                  <a:pt x="65668" y="19347"/>
                  <a:pt x="65745" y="19423"/>
                </a:cubicBezTo>
                <a:cubicBezTo>
                  <a:pt x="66013" y="19691"/>
                  <a:pt x="66166" y="20073"/>
                  <a:pt x="66472" y="20341"/>
                </a:cubicBezTo>
                <a:cubicBezTo>
                  <a:pt x="66701" y="20532"/>
                  <a:pt x="66739" y="20876"/>
                  <a:pt x="67083" y="21068"/>
                </a:cubicBezTo>
                <a:cubicBezTo>
                  <a:pt x="67351" y="21221"/>
                  <a:pt x="67428" y="21603"/>
                  <a:pt x="67619" y="21871"/>
                </a:cubicBezTo>
                <a:cubicBezTo>
                  <a:pt x="67695" y="21986"/>
                  <a:pt x="67810" y="22100"/>
                  <a:pt x="67963" y="22177"/>
                </a:cubicBezTo>
                <a:cubicBezTo>
                  <a:pt x="68346" y="22406"/>
                  <a:pt x="68575" y="22789"/>
                  <a:pt x="68843" y="23171"/>
                </a:cubicBezTo>
                <a:cubicBezTo>
                  <a:pt x="68881" y="23248"/>
                  <a:pt x="68919" y="23362"/>
                  <a:pt x="68881" y="23439"/>
                </a:cubicBezTo>
                <a:cubicBezTo>
                  <a:pt x="68805" y="23592"/>
                  <a:pt x="68766" y="23668"/>
                  <a:pt x="68957" y="23707"/>
                </a:cubicBezTo>
                <a:cubicBezTo>
                  <a:pt x="69072" y="23745"/>
                  <a:pt x="69225" y="23821"/>
                  <a:pt x="69263" y="23936"/>
                </a:cubicBezTo>
                <a:cubicBezTo>
                  <a:pt x="69722" y="24663"/>
                  <a:pt x="70411" y="25236"/>
                  <a:pt x="70679" y="26078"/>
                </a:cubicBezTo>
                <a:cubicBezTo>
                  <a:pt x="70793" y="26422"/>
                  <a:pt x="70832" y="26805"/>
                  <a:pt x="71290" y="26843"/>
                </a:cubicBezTo>
                <a:cubicBezTo>
                  <a:pt x="71367" y="26881"/>
                  <a:pt x="71443" y="27072"/>
                  <a:pt x="71443" y="27187"/>
                </a:cubicBezTo>
                <a:cubicBezTo>
                  <a:pt x="71673" y="27837"/>
                  <a:pt x="71826" y="28181"/>
                  <a:pt x="72285" y="28640"/>
                </a:cubicBezTo>
                <a:cubicBezTo>
                  <a:pt x="72361" y="28717"/>
                  <a:pt x="72476" y="28832"/>
                  <a:pt x="72476" y="28870"/>
                </a:cubicBezTo>
                <a:cubicBezTo>
                  <a:pt x="72361" y="29405"/>
                  <a:pt x="72782" y="29673"/>
                  <a:pt x="72935" y="30094"/>
                </a:cubicBezTo>
                <a:cubicBezTo>
                  <a:pt x="72973" y="30285"/>
                  <a:pt x="73012" y="30514"/>
                  <a:pt x="73279" y="30591"/>
                </a:cubicBezTo>
                <a:cubicBezTo>
                  <a:pt x="73394" y="30629"/>
                  <a:pt x="73509" y="30859"/>
                  <a:pt x="73509" y="30973"/>
                </a:cubicBezTo>
                <a:cubicBezTo>
                  <a:pt x="73471" y="31279"/>
                  <a:pt x="73547" y="31471"/>
                  <a:pt x="73776" y="31624"/>
                </a:cubicBezTo>
                <a:cubicBezTo>
                  <a:pt x="73853" y="31662"/>
                  <a:pt x="73815" y="31891"/>
                  <a:pt x="73853" y="31930"/>
                </a:cubicBezTo>
                <a:cubicBezTo>
                  <a:pt x="74044" y="32121"/>
                  <a:pt x="73891" y="32465"/>
                  <a:pt x="74235" y="32580"/>
                </a:cubicBezTo>
                <a:cubicBezTo>
                  <a:pt x="74274" y="32618"/>
                  <a:pt x="74350" y="32694"/>
                  <a:pt x="74350" y="32733"/>
                </a:cubicBezTo>
                <a:cubicBezTo>
                  <a:pt x="74388" y="33306"/>
                  <a:pt x="74771" y="33727"/>
                  <a:pt x="74886" y="34224"/>
                </a:cubicBezTo>
                <a:cubicBezTo>
                  <a:pt x="74924" y="34416"/>
                  <a:pt x="74962" y="34530"/>
                  <a:pt x="75077" y="34721"/>
                </a:cubicBezTo>
                <a:cubicBezTo>
                  <a:pt x="75268" y="35066"/>
                  <a:pt x="75383" y="35448"/>
                  <a:pt x="75459" y="35869"/>
                </a:cubicBezTo>
                <a:cubicBezTo>
                  <a:pt x="75612" y="36481"/>
                  <a:pt x="75727" y="37093"/>
                  <a:pt x="75880" y="37705"/>
                </a:cubicBezTo>
                <a:cubicBezTo>
                  <a:pt x="76071" y="38470"/>
                  <a:pt x="76301" y="39196"/>
                  <a:pt x="76415" y="39961"/>
                </a:cubicBezTo>
                <a:cubicBezTo>
                  <a:pt x="76492" y="40497"/>
                  <a:pt x="76645" y="40994"/>
                  <a:pt x="76760" y="41529"/>
                </a:cubicBezTo>
                <a:cubicBezTo>
                  <a:pt x="76760" y="41720"/>
                  <a:pt x="76913" y="41873"/>
                  <a:pt x="76760" y="42103"/>
                </a:cubicBezTo>
                <a:cubicBezTo>
                  <a:pt x="76607" y="42294"/>
                  <a:pt x="77180" y="42256"/>
                  <a:pt x="76913" y="42600"/>
                </a:cubicBezTo>
                <a:cubicBezTo>
                  <a:pt x="76760" y="42753"/>
                  <a:pt x="76836" y="43059"/>
                  <a:pt x="76874" y="43327"/>
                </a:cubicBezTo>
                <a:cubicBezTo>
                  <a:pt x="76874" y="43518"/>
                  <a:pt x="77066" y="43709"/>
                  <a:pt x="77104" y="43939"/>
                </a:cubicBezTo>
                <a:cubicBezTo>
                  <a:pt x="77180" y="44245"/>
                  <a:pt x="77180" y="44551"/>
                  <a:pt x="77219" y="44857"/>
                </a:cubicBezTo>
                <a:cubicBezTo>
                  <a:pt x="77295" y="45430"/>
                  <a:pt x="77486" y="46042"/>
                  <a:pt x="77410" y="46578"/>
                </a:cubicBezTo>
                <a:cubicBezTo>
                  <a:pt x="77333" y="47381"/>
                  <a:pt x="77563" y="48184"/>
                  <a:pt x="77410" y="48949"/>
                </a:cubicBezTo>
                <a:cubicBezTo>
                  <a:pt x="77333" y="49217"/>
                  <a:pt x="77486" y="49446"/>
                  <a:pt x="77525" y="49752"/>
                </a:cubicBezTo>
                <a:cubicBezTo>
                  <a:pt x="77525" y="50938"/>
                  <a:pt x="77486" y="52162"/>
                  <a:pt x="77448" y="53347"/>
                </a:cubicBezTo>
                <a:cubicBezTo>
                  <a:pt x="77448" y="54265"/>
                  <a:pt x="77372" y="55183"/>
                  <a:pt x="77257" y="56101"/>
                </a:cubicBezTo>
                <a:cubicBezTo>
                  <a:pt x="77219" y="56675"/>
                  <a:pt x="77066" y="57287"/>
                  <a:pt x="76989" y="57899"/>
                </a:cubicBezTo>
                <a:cubicBezTo>
                  <a:pt x="76913" y="58511"/>
                  <a:pt x="76874" y="59084"/>
                  <a:pt x="76836" y="59696"/>
                </a:cubicBezTo>
                <a:cubicBezTo>
                  <a:pt x="76798" y="60040"/>
                  <a:pt x="76607" y="60308"/>
                  <a:pt x="76607" y="60652"/>
                </a:cubicBezTo>
                <a:cubicBezTo>
                  <a:pt x="76568" y="61341"/>
                  <a:pt x="76415" y="62029"/>
                  <a:pt x="76148" y="62679"/>
                </a:cubicBezTo>
                <a:cubicBezTo>
                  <a:pt x="76033" y="63024"/>
                  <a:pt x="76224" y="63253"/>
                  <a:pt x="76071" y="63597"/>
                </a:cubicBezTo>
                <a:cubicBezTo>
                  <a:pt x="75689" y="64515"/>
                  <a:pt x="75498" y="65510"/>
                  <a:pt x="75306" y="66504"/>
                </a:cubicBezTo>
                <a:cubicBezTo>
                  <a:pt x="75192" y="66963"/>
                  <a:pt x="74962" y="67460"/>
                  <a:pt x="74847" y="67957"/>
                </a:cubicBezTo>
                <a:cubicBezTo>
                  <a:pt x="74694" y="68569"/>
                  <a:pt x="74465" y="69143"/>
                  <a:pt x="74427" y="69755"/>
                </a:cubicBezTo>
                <a:cubicBezTo>
                  <a:pt x="74427" y="70329"/>
                  <a:pt x="74006" y="70634"/>
                  <a:pt x="73929" y="71132"/>
                </a:cubicBezTo>
                <a:cubicBezTo>
                  <a:pt x="73929" y="71323"/>
                  <a:pt x="73776" y="71438"/>
                  <a:pt x="73738" y="71591"/>
                </a:cubicBezTo>
                <a:cubicBezTo>
                  <a:pt x="73700" y="71935"/>
                  <a:pt x="73585" y="72203"/>
                  <a:pt x="73356" y="72432"/>
                </a:cubicBezTo>
                <a:cubicBezTo>
                  <a:pt x="73241" y="72662"/>
                  <a:pt x="72897" y="72815"/>
                  <a:pt x="73126" y="73159"/>
                </a:cubicBezTo>
                <a:cubicBezTo>
                  <a:pt x="73126" y="73197"/>
                  <a:pt x="73088" y="73273"/>
                  <a:pt x="73050" y="73273"/>
                </a:cubicBezTo>
                <a:cubicBezTo>
                  <a:pt x="72706" y="73350"/>
                  <a:pt x="72859" y="73694"/>
                  <a:pt x="72706" y="73885"/>
                </a:cubicBezTo>
                <a:cubicBezTo>
                  <a:pt x="72514" y="74115"/>
                  <a:pt x="72247" y="74344"/>
                  <a:pt x="72208" y="74612"/>
                </a:cubicBezTo>
                <a:cubicBezTo>
                  <a:pt x="72094" y="75071"/>
                  <a:pt x="71673" y="75415"/>
                  <a:pt x="71558" y="75912"/>
                </a:cubicBezTo>
                <a:cubicBezTo>
                  <a:pt x="71482" y="76257"/>
                  <a:pt x="71176" y="76524"/>
                  <a:pt x="70946" y="76830"/>
                </a:cubicBezTo>
                <a:cubicBezTo>
                  <a:pt x="70870" y="76945"/>
                  <a:pt x="70793" y="77022"/>
                  <a:pt x="70717" y="77098"/>
                </a:cubicBezTo>
                <a:cubicBezTo>
                  <a:pt x="70564" y="77481"/>
                  <a:pt x="70449" y="77863"/>
                  <a:pt x="70220" y="78169"/>
                </a:cubicBezTo>
                <a:cubicBezTo>
                  <a:pt x="70028" y="78437"/>
                  <a:pt x="69722" y="78666"/>
                  <a:pt x="69531" y="78934"/>
                </a:cubicBezTo>
                <a:cubicBezTo>
                  <a:pt x="69340" y="79125"/>
                  <a:pt x="69302" y="79469"/>
                  <a:pt x="69110" y="79622"/>
                </a:cubicBezTo>
                <a:cubicBezTo>
                  <a:pt x="68957" y="79775"/>
                  <a:pt x="68996" y="80120"/>
                  <a:pt x="68690" y="80158"/>
                </a:cubicBezTo>
                <a:cubicBezTo>
                  <a:pt x="68652" y="80158"/>
                  <a:pt x="68613" y="80272"/>
                  <a:pt x="68613" y="80349"/>
                </a:cubicBezTo>
                <a:cubicBezTo>
                  <a:pt x="68537" y="80693"/>
                  <a:pt x="68499" y="80617"/>
                  <a:pt x="68116" y="80846"/>
                </a:cubicBezTo>
                <a:cubicBezTo>
                  <a:pt x="67925" y="80999"/>
                  <a:pt x="67466" y="81114"/>
                  <a:pt x="67619" y="81611"/>
                </a:cubicBezTo>
                <a:cubicBezTo>
                  <a:pt x="67657" y="81649"/>
                  <a:pt x="67542" y="81802"/>
                  <a:pt x="67428" y="81841"/>
                </a:cubicBezTo>
                <a:cubicBezTo>
                  <a:pt x="67236" y="81994"/>
                  <a:pt x="67007" y="82070"/>
                  <a:pt x="66854" y="82261"/>
                </a:cubicBezTo>
                <a:cubicBezTo>
                  <a:pt x="66663" y="82414"/>
                  <a:pt x="66433" y="82606"/>
                  <a:pt x="66472" y="82950"/>
                </a:cubicBezTo>
                <a:cubicBezTo>
                  <a:pt x="66472" y="83064"/>
                  <a:pt x="66433" y="83256"/>
                  <a:pt x="66395" y="83294"/>
                </a:cubicBezTo>
                <a:cubicBezTo>
                  <a:pt x="65745" y="83447"/>
                  <a:pt x="65707" y="84365"/>
                  <a:pt x="64980" y="84365"/>
                </a:cubicBezTo>
                <a:cubicBezTo>
                  <a:pt x="64903" y="84365"/>
                  <a:pt x="64827" y="84441"/>
                  <a:pt x="64827" y="84518"/>
                </a:cubicBezTo>
                <a:cubicBezTo>
                  <a:pt x="64674" y="85053"/>
                  <a:pt x="64138" y="85283"/>
                  <a:pt x="63871" y="85703"/>
                </a:cubicBezTo>
                <a:cubicBezTo>
                  <a:pt x="63603" y="86162"/>
                  <a:pt x="63144" y="86468"/>
                  <a:pt x="62762" y="86813"/>
                </a:cubicBezTo>
                <a:cubicBezTo>
                  <a:pt x="62532" y="87042"/>
                  <a:pt x="62264" y="87233"/>
                  <a:pt x="62035" y="87463"/>
                </a:cubicBezTo>
                <a:cubicBezTo>
                  <a:pt x="61844" y="87692"/>
                  <a:pt x="61729" y="88075"/>
                  <a:pt x="61500" y="88189"/>
                </a:cubicBezTo>
                <a:cubicBezTo>
                  <a:pt x="61002" y="88419"/>
                  <a:pt x="60849" y="89069"/>
                  <a:pt x="60199" y="89146"/>
                </a:cubicBezTo>
                <a:cubicBezTo>
                  <a:pt x="60084" y="89184"/>
                  <a:pt x="59970" y="89413"/>
                  <a:pt x="59855" y="89528"/>
                </a:cubicBezTo>
                <a:cubicBezTo>
                  <a:pt x="59625" y="89758"/>
                  <a:pt x="59396" y="89949"/>
                  <a:pt x="59205" y="90140"/>
                </a:cubicBezTo>
                <a:cubicBezTo>
                  <a:pt x="59090" y="90178"/>
                  <a:pt x="59014" y="90255"/>
                  <a:pt x="58899" y="90331"/>
                </a:cubicBezTo>
                <a:cubicBezTo>
                  <a:pt x="58822" y="90446"/>
                  <a:pt x="58708" y="90599"/>
                  <a:pt x="58593" y="90675"/>
                </a:cubicBezTo>
                <a:cubicBezTo>
                  <a:pt x="57560" y="91173"/>
                  <a:pt x="56757" y="91976"/>
                  <a:pt x="55877" y="92664"/>
                </a:cubicBezTo>
                <a:cubicBezTo>
                  <a:pt x="55495" y="92932"/>
                  <a:pt x="55036" y="93047"/>
                  <a:pt x="54692" y="93314"/>
                </a:cubicBezTo>
                <a:cubicBezTo>
                  <a:pt x="54233" y="93659"/>
                  <a:pt x="53697" y="93850"/>
                  <a:pt x="53238" y="94156"/>
                </a:cubicBezTo>
                <a:cubicBezTo>
                  <a:pt x="52856" y="94385"/>
                  <a:pt x="52512" y="94729"/>
                  <a:pt x="52129" y="94882"/>
                </a:cubicBezTo>
                <a:cubicBezTo>
                  <a:pt x="51211" y="95265"/>
                  <a:pt x="50523" y="96068"/>
                  <a:pt x="49529" y="96336"/>
                </a:cubicBezTo>
                <a:cubicBezTo>
                  <a:pt x="49452" y="96336"/>
                  <a:pt x="49337" y="96412"/>
                  <a:pt x="49337" y="96451"/>
                </a:cubicBezTo>
                <a:cubicBezTo>
                  <a:pt x="49307" y="96940"/>
                  <a:pt x="49007" y="97038"/>
                  <a:pt x="48673" y="97038"/>
                </a:cubicBezTo>
                <a:cubicBezTo>
                  <a:pt x="48589" y="97038"/>
                  <a:pt x="48504" y="97032"/>
                  <a:pt x="48419" y="97024"/>
                </a:cubicBezTo>
                <a:cubicBezTo>
                  <a:pt x="48371" y="97024"/>
                  <a:pt x="48326" y="97023"/>
                  <a:pt x="48285" y="97023"/>
                </a:cubicBezTo>
                <a:cubicBezTo>
                  <a:pt x="48102" y="97023"/>
                  <a:pt x="48006" y="97049"/>
                  <a:pt x="48037" y="97330"/>
                </a:cubicBezTo>
                <a:cubicBezTo>
                  <a:pt x="47956" y="97357"/>
                  <a:pt x="47875" y="97384"/>
                  <a:pt x="47807" y="97384"/>
                </a:cubicBezTo>
                <a:cubicBezTo>
                  <a:pt x="47779" y="97384"/>
                  <a:pt x="47753" y="97380"/>
                  <a:pt x="47731" y="97368"/>
                </a:cubicBezTo>
                <a:cubicBezTo>
                  <a:pt x="47654" y="97311"/>
                  <a:pt x="47588" y="97263"/>
                  <a:pt x="47540" y="97263"/>
                </a:cubicBezTo>
                <a:cubicBezTo>
                  <a:pt x="47492" y="97263"/>
                  <a:pt x="47463" y="97311"/>
                  <a:pt x="47463" y="97445"/>
                </a:cubicBezTo>
                <a:cubicBezTo>
                  <a:pt x="47425" y="97751"/>
                  <a:pt x="47157" y="97751"/>
                  <a:pt x="46966" y="97751"/>
                </a:cubicBezTo>
                <a:cubicBezTo>
                  <a:pt x="46845" y="97963"/>
                  <a:pt x="46699" y="98031"/>
                  <a:pt x="46511" y="98031"/>
                </a:cubicBezTo>
                <a:cubicBezTo>
                  <a:pt x="46462" y="98031"/>
                  <a:pt x="46410" y="98027"/>
                  <a:pt x="46354" y="98019"/>
                </a:cubicBezTo>
                <a:cubicBezTo>
                  <a:pt x="46259" y="98019"/>
                  <a:pt x="46163" y="98009"/>
                  <a:pt x="46067" y="98009"/>
                </a:cubicBezTo>
                <a:cubicBezTo>
                  <a:pt x="45972" y="98009"/>
                  <a:pt x="45876" y="98019"/>
                  <a:pt x="45780" y="98057"/>
                </a:cubicBezTo>
                <a:cubicBezTo>
                  <a:pt x="45627" y="98095"/>
                  <a:pt x="45321" y="98019"/>
                  <a:pt x="45398" y="98363"/>
                </a:cubicBezTo>
                <a:cubicBezTo>
                  <a:pt x="45429" y="98363"/>
                  <a:pt x="45361" y="98412"/>
                  <a:pt x="45333" y="98412"/>
                </a:cubicBezTo>
                <a:cubicBezTo>
                  <a:pt x="45326" y="98412"/>
                  <a:pt x="45321" y="98409"/>
                  <a:pt x="45321" y="98401"/>
                </a:cubicBezTo>
                <a:cubicBezTo>
                  <a:pt x="45242" y="98357"/>
                  <a:pt x="45168" y="98339"/>
                  <a:pt x="45099" y="98339"/>
                </a:cubicBezTo>
                <a:cubicBezTo>
                  <a:pt x="44869" y="98339"/>
                  <a:pt x="44686" y="98534"/>
                  <a:pt x="44480" y="98592"/>
                </a:cubicBezTo>
                <a:cubicBezTo>
                  <a:pt x="44251" y="98669"/>
                  <a:pt x="43983" y="98745"/>
                  <a:pt x="43715" y="98860"/>
                </a:cubicBezTo>
                <a:cubicBezTo>
                  <a:pt x="43562" y="98898"/>
                  <a:pt x="43447" y="98975"/>
                  <a:pt x="43294" y="99051"/>
                </a:cubicBezTo>
                <a:cubicBezTo>
                  <a:pt x="43218" y="99090"/>
                  <a:pt x="43180" y="99204"/>
                  <a:pt x="43141" y="99204"/>
                </a:cubicBezTo>
                <a:cubicBezTo>
                  <a:pt x="43062" y="99178"/>
                  <a:pt x="42987" y="99166"/>
                  <a:pt x="42915" y="99166"/>
                </a:cubicBezTo>
                <a:cubicBezTo>
                  <a:pt x="42575" y="99166"/>
                  <a:pt x="42317" y="99429"/>
                  <a:pt x="42032" y="99587"/>
                </a:cubicBezTo>
                <a:cubicBezTo>
                  <a:pt x="41879" y="99663"/>
                  <a:pt x="41688" y="99778"/>
                  <a:pt x="41497" y="99778"/>
                </a:cubicBezTo>
                <a:cubicBezTo>
                  <a:pt x="41267" y="99778"/>
                  <a:pt x="41114" y="99893"/>
                  <a:pt x="40923" y="99969"/>
                </a:cubicBezTo>
                <a:cubicBezTo>
                  <a:pt x="40579" y="100122"/>
                  <a:pt x="40197" y="100237"/>
                  <a:pt x="39814" y="100352"/>
                </a:cubicBezTo>
                <a:cubicBezTo>
                  <a:pt x="38973" y="100581"/>
                  <a:pt x="38131" y="100772"/>
                  <a:pt x="37252" y="100964"/>
                </a:cubicBezTo>
                <a:cubicBezTo>
                  <a:pt x="37197" y="100991"/>
                  <a:pt x="37086" y="101018"/>
                  <a:pt x="37025" y="101018"/>
                </a:cubicBezTo>
                <a:cubicBezTo>
                  <a:pt x="37000" y="101018"/>
                  <a:pt x="36984" y="101013"/>
                  <a:pt x="36984" y="101002"/>
                </a:cubicBezTo>
                <a:cubicBezTo>
                  <a:pt x="36874" y="100798"/>
                  <a:pt x="36752" y="100729"/>
                  <a:pt x="36625" y="100729"/>
                </a:cubicBezTo>
                <a:cubicBezTo>
                  <a:pt x="36441" y="100729"/>
                  <a:pt x="36247" y="100873"/>
                  <a:pt x="36066" y="100964"/>
                </a:cubicBezTo>
                <a:cubicBezTo>
                  <a:pt x="35798" y="101117"/>
                  <a:pt x="35339" y="100925"/>
                  <a:pt x="35186" y="101346"/>
                </a:cubicBezTo>
                <a:cubicBezTo>
                  <a:pt x="35110" y="101308"/>
                  <a:pt x="35072" y="101270"/>
                  <a:pt x="34995" y="101231"/>
                </a:cubicBezTo>
                <a:cubicBezTo>
                  <a:pt x="34919" y="101231"/>
                  <a:pt x="34804" y="101155"/>
                  <a:pt x="34727" y="101155"/>
                </a:cubicBezTo>
                <a:cubicBezTo>
                  <a:pt x="34115" y="101461"/>
                  <a:pt x="33427" y="101423"/>
                  <a:pt x="32777" y="101461"/>
                </a:cubicBezTo>
                <a:cubicBezTo>
                  <a:pt x="32088" y="101461"/>
                  <a:pt x="31362" y="101652"/>
                  <a:pt x="30673" y="101652"/>
                </a:cubicBezTo>
                <a:cubicBezTo>
                  <a:pt x="30406" y="101652"/>
                  <a:pt x="30196" y="101857"/>
                  <a:pt x="29892" y="101857"/>
                </a:cubicBezTo>
                <a:cubicBezTo>
                  <a:pt x="29849" y="101857"/>
                  <a:pt x="29803" y="101853"/>
                  <a:pt x="29755" y="101843"/>
                </a:cubicBezTo>
                <a:cubicBezTo>
                  <a:pt x="29365" y="101774"/>
                  <a:pt x="28961" y="101761"/>
                  <a:pt x="28552" y="101761"/>
                </a:cubicBezTo>
                <a:cubicBezTo>
                  <a:pt x="28279" y="101761"/>
                  <a:pt x="28004" y="101767"/>
                  <a:pt x="27728" y="101767"/>
                </a:cubicBezTo>
                <a:cubicBezTo>
                  <a:pt x="27361" y="101767"/>
                  <a:pt x="26970" y="101865"/>
                  <a:pt x="26593" y="101865"/>
                </a:cubicBezTo>
                <a:cubicBezTo>
                  <a:pt x="26498" y="101865"/>
                  <a:pt x="26405" y="101859"/>
                  <a:pt x="26313" y="101843"/>
                </a:cubicBezTo>
                <a:cubicBezTo>
                  <a:pt x="26235" y="101824"/>
                  <a:pt x="26156" y="101816"/>
                  <a:pt x="26078" y="101816"/>
                </a:cubicBezTo>
                <a:cubicBezTo>
                  <a:pt x="25847" y="101816"/>
                  <a:pt x="25618" y="101880"/>
                  <a:pt x="25395" y="101880"/>
                </a:cubicBezTo>
                <a:cubicBezTo>
                  <a:pt x="25252" y="101880"/>
                  <a:pt x="25111" y="101854"/>
                  <a:pt x="24975" y="101767"/>
                </a:cubicBezTo>
                <a:cubicBezTo>
                  <a:pt x="24818" y="101829"/>
                  <a:pt x="24665" y="101852"/>
                  <a:pt x="24513" y="101852"/>
                </a:cubicBezTo>
                <a:cubicBezTo>
                  <a:pt x="24109" y="101852"/>
                  <a:pt x="23719" y="101690"/>
                  <a:pt x="23330" y="101690"/>
                </a:cubicBezTo>
                <a:cubicBezTo>
                  <a:pt x="23275" y="101690"/>
                  <a:pt x="23221" y="101693"/>
                  <a:pt x="23166" y="101693"/>
                </a:cubicBezTo>
                <a:cubicBezTo>
                  <a:pt x="23030" y="101693"/>
                  <a:pt x="22893" y="101674"/>
                  <a:pt x="22756" y="101537"/>
                </a:cubicBezTo>
                <a:cubicBezTo>
                  <a:pt x="22744" y="101512"/>
                  <a:pt x="22705" y="101503"/>
                  <a:pt x="22654" y="101503"/>
                </a:cubicBezTo>
                <a:cubicBezTo>
                  <a:pt x="22552" y="101503"/>
                  <a:pt x="22399" y="101537"/>
                  <a:pt x="22297" y="101537"/>
                </a:cubicBezTo>
                <a:cubicBezTo>
                  <a:pt x="22096" y="101537"/>
                  <a:pt x="21855" y="101695"/>
                  <a:pt x="21652" y="101695"/>
                </a:cubicBezTo>
                <a:cubicBezTo>
                  <a:pt x="21508" y="101695"/>
                  <a:pt x="21382" y="101616"/>
                  <a:pt x="21303" y="101346"/>
                </a:cubicBezTo>
                <a:cubicBezTo>
                  <a:pt x="21303" y="101327"/>
                  <a:pt x="21265" y="101327"/>
                  <a:pt x="21217" y="101327"/>
                </a:cubicBezTo>
                <a:cubicBezTo>
                  <a:pt x="21169" y="101327"/>
                  <a:pt x="21112" y="101327"/>
                  <a:pt x="21074" y="101308"/>
                </a:cubicBezTo>
                <a:cubicBezTo>
                  <a:pt x="21026" y="101274"/>
                  <a:pt x="20980" y="101260"/>
                  <a:pt x="20934" y="101260"/>
                </a:cubicBezTo>
                <a:cubicBezTo>
                  <a:pt x="20762" y="101260"/>
                  <a:pt x="20604" y="101454"/>
                  <a:pt x="20448" y="101454"/>
                </a:cubicBezTo>
                <a:cubicBezTo>
                  <a:pt x="20415" y="101454"/>
                  <a:pt x="20381" y="101445"/>
                  <a:pt x="20347" y="101423"/>
                </a:cubicBezTo>
                <a:cubicBezTo>
                  <a:pt x="20156" y="101308"/>
                  <a:pt x="20003" y="101231"/>
                  <a:pt x="19735" y="101193"/>
                </a:cubicBezTo>
                <a:cubicBezTo>
                  <a:pt x="19199" y="101078"/>
                  <a:pt x="18626" y="101155"/>
                  <a:pt x="18090" y="100849"/>
                </a:cubicBezTo>
                <a:cubicBezTo>
                  <a:pt x="17861" y="100734"/>
                  <a:pt x="17517" y="100811"/>
                  <a:pt x="17249" y="100734"/>
                </a:cubicBezTo>
                <a:cubicBezTo>
                  <a:pt x="16981" y="100658"/>
                  <a:pt x="16713" y="100466"/>
                  <a:pt x="16446" y="100390"/>
                </a:cubicBezTo>
                <a:cubicBezTo>
                  <a:pt x="16178" y="100313"/>
                  <a:pt x="15910" y="100275"/>
                  <a:pt x="15643" y="100275"/>
                </a:cubicBezTo>
                <a:cubicBezTo>
                  <a:pt x="14839" y="100237"/>
                  <a:pt x="14113" y="99969"/>
                  <a:pt x="13386" y="99625"/>
                </a:cubicBezTo>
                <a:cubicBezTo>
                  <a:pt x="13195" y="99548"/>
                  <a:pt x="13004" y="99548"/>
                  <a:pt x="12774" y="99548"/>
                </a:cubicBezTo>
                <a:cubicBezTo>
                  <a:pt x="12758" y="99540"/>
                  <a:pt x="12738" y="99537"/>
                  <a:pt x="12717" y="99537"/>
                </a:cubicBezTo>
                <a:cubicBezTo>
                  <a:pt x="12659" y="99537"/>
                  <a:pt x="12589" y="99560"/>
                  <a:pt x="12544" y="99560"/>
                </a:cubicBezTo>
                <a:cubicBezTo>
                  <a:pt x="12528" y="99560"/>
                  <a:pt x="12515" y="99557"/>
                  <a:pt x="12506" y="99548"/>
                </a:cubicBezTo>
                <a:cubicBezTo>
                  <a:pt x="12009" y="99013"/>
                  <a:pt x="11206" y="99090"/>
                  <a:pt x="10671" y="98669"/>
                </a:cubicBezTo>
                <a:cubicBezTo>
                  <a:pt x="10559" y="98557"/>
                  <a:pt x="10406" y="98486"/>
                  <a:pt x="10212" y="98486"/>
                </a:cubicBezTo>
                <a:cubicBezTo>
                  <a:pt x="10141" y="98486"/>
                  <a:pt x="10064" y="98495"/>
                  <a:pt x="9982" y="98516"/>
                </a:cubicBezTo>
                <a:cubicBezTo>
                  <a:pt x="9962" y="98519"/>
                  <a:pt x="9942" y="98521"/>
                  <a:pt x="9921" y="98521"/>
                </a:cubicBezTo>
                <a:cubicBezTo>
                  <a:pt x="9706" y="98521"/>
                  <a:pt x="9465" y="98349"/>
                  <a:pt x="9256" y="98210"/>
                </a:cubicBezTo>
                <a:cubicBezTo>
                  <a:pt x="9141" y="98172"/>
                  <a:pt x="9103" y="97980"/>
                  <a:pt x="8988" y="97942"/>
                </a:cubicBezTo>
                <a:cubicBezTo>
                  <a:pt x="8835" y="97866"/>
                  <a:pt x="8644" y="97904"/>
                  <a:pt x="8529" y="97866"/>
                </a:cubicBezTo>
                <a:cubicBezTo>
                  <a:pt x="8261" y="97674"/>
                  <a:pt x="7955" y="97713"/>
                  <a:pt x="7726" y="97407"/>
                </a:cubicBezTo>
                <a:cubicBezTo>
                  <a:pt x="7534" y="97139"/>
                  <a:pt x="7114" y="97330"/>
                  <a:pt x="6846" y="97101"/>
                </a:cubicBezTo>
                <a:cubicBezTo>
                  <a:pt x="6425" y="96795"/>
                  <a:pt x="5775" y="96833"/>
                  <a:pt x="5393" y="96336"/>
                </a:cubicBezTo>
                <a:cubicBezTo>
                  <a:pt x="5327" y="96356"/>
                  <a:pt x="5265" y="96365"/>
                  <a:pt x="5207" y="96365"/>
                </a:cubicBezTo>
                <a:cubicBezTo>
                  <a:pt x="4756" y="96365"/>
                  <a:pt x="4493" y="95827"/>
                  <a:pt x="4051" y="95827"/>
                </a:cubicBezTo>
                <a:cubicBezTo>
                  <a:pt x="4015" y="95827"/>
                  <a:pt x="3978" y="95831"/>
                  <a:pt x="3939" y="95839"/>
                </a:cubicBezTo>
                <a:cubicBezTo>
                  <a:pt x="3672" y="95456"/>
                  <a:pt x="3213" y="95456"/>
                  <a:pt x="2868" y="95265"/>
                </a:cubicBezTo>
                <a:cubicBezTo>
                  <a:pt x="2601" y="95112"/>
                  <a:pt x="2333" y="94921"/>
                  <a:pt x="2065" y="94806"/>
                </a:cubicBezTo>
                <a:cubicBezTo>
                  <a:pt x="1721" y="94691"/>
                  <a:pt x="1453" y="94424"/>
                  <a:pt x="1147" y="94347"/>
                </a:cubicBezTo>
                <a:cubicBezTo>
                  <a:pt x="688" y="94156"/>
                  <a:pt x="344" y="93926"/>
                  <a:pt x="0" y="93620"/>
                </a:cubicBezTo>
                <a:lnTo>
                  <a:pt x="0" y="95762"/>
                </a:lnTo>
                <a:cubicBezTo>
                  <a:pt x="153" y="95839"/>
                  <a:pt x="306" y="95953"/>
                  <a:pt x="459" y="95992"/>
                </a:cubicBezTo>
                <a:cubicBezTo>
                  <a:pt x="1377" y="96451"/>
                  <a:pt x="2257" y="97063"/>
                  <a:pt x="3251" y="97368"/>
                </a:cubicBezTo>
                <a:cubicBezTo>
                  <a:pt x="3901" y="97598"/>
                  <a:pt x="4513" y="97942"/>
                  <a:pt x="5163" y="98210"/>
                </a:cubicBezTo>
                <a:cubicBezTo>
                  <a:pt x="6196" y="98669"/>
                  <a:pt x="7305" y="99051"/>
                  <a:pt x="8452" y="99281"/>
                </a:cubicBezTo>
                <a:cubicBezTo>
                  <a:pt x="8682" y="99357"/>
                  <a:pt x="8950" y="99319"/>
                  <a:pt x="9141" y="99434"/>
                </a:cubicBezTo>
                <a:cubicBezTo>
                  <a:pt x="9867" y="99931"/>
                  <a:pt x="10747" y="100084"/>
                  <a:pt x="11550" y="100428"/>
                </a:cubicBezTo>
                <a:cubicBezTo>
                  <a:pt x="12047" y="100658"/>
                  <a:pt x="12583" y="100696"/>
                  <a:pt x="13080" y="101002"/>
                </a:cubicBezTo>
                <a:cubicBezTo>
                  <a:pt x="13347" y="101168"/>
                  <a:pt x="13729" y="101277"/>
                  <a:pt x="14076" y="101277"/>
                </a:cubicBezTo>
                <a:cubicBezTo>
                  <a:pt x="14127" y="101277"/>
                  <a:pt x="14178" y="101275"/>
                  <a:pt x="14228" y="101270"/>
                </a:cubicBezTo>
                <a:cubicBezTo>
                  <a:pt x="14576" y="101270"/>
                  <a:pt x="14845" y="101584"/>
                  <a:pt x="15188" y="101584"/>
                </a:cubicBezTo>
                <a:cubicBezTo>
                  <a:pt x="15259" y="101584"/>
                  <a:pt x="15334" y="101570"/>
                  <a:pt x="15413" y="101537"/>
                </a:cubicBezTo>
                <a:cubicBezTo>
                  <a:pt x="15719" y="101805"/>
                  <a:pt x="16140" y="101729"/>
                  <a:pt x="16484" y="101843"/>
                </a:cubicBezTo>
                <a:cubicBezTo>
                  <a:pt x="17134" y="102034"/>
                  <a:pt x="17784" y="102034"/>
                  <a:pt x="18396" y="102149"/>
                </a:cubicBezTo>
                <a:cubicBezTo>
                  <a:pt x="18626" y="102226"/>
                  <a:pt x="18817" y="102379"/>
                  <a:pt x="19008" y="102379"/>
                </a:cubicBezTo>
                <a:cubicBezTo>
                  <a:pt x="19106" y="102362"/>
                  <a:pt x="19202" y="102355"/>
                  <a:pt x="19297" y="102355"/>
                </a:cubicBezTo>
                <a:cubicBezTo>
                  <a:pt x="19872" y="102355"/>
                  <a:pt x="20406" y="102614"/>
                  <a:pt x="20997" y="102646"/>
                </a:cubicBezTo>
                <a:cubicBezTo>
                  <a:pt x="21227" y="102646"/>
                  <a:pt x="21456" y="102799"/>
                  <a:pt x="21724" y="102838"/>
                </a:cubicBezTo>
                <a:cubicBezTo>
                  <a:pt x="21742" y="102841"/>
                  <a:pt x="21761" y="102842"/>
                  <a:pt x="21779" y="102842"/>
                </a:cubicBezTo>
                <a:cubicBezTo>
                  <a:pt x="21903" y="102842"/>
                  <a:pt x="22026" y="102782"/>
                  <a:pt x="22150" y="102782"/>
                </a:cubicBezTo>
                <a:cubicBezTo>
                  <a:pt x="22237" y="102782"/>
                  <a:pt x="22325" y="102812"/>
                  <a:pt x="22412" y="102914"/>
                </a:cubicBezTo>
                <a:cubicBezTo>
                  <a:pt x="22438" y="102952"/>
                  <a:pt x="22497" y="102965"/>
                  <a:pt x="22574" y="102965"/>
                </a:cubicBezTo>
                <a:cubicBezTo>
                  <a:pt x="22727" y="102965"/>
                  <a:pt x="22948" y="102914"/>
                  <a:pt x="23101" y="102914"/>
                </a:cubicBezTo>
                <a:cubicBezTo>
                  <a:pt x="23521" y="102914"/>
                  <a:pt x="23942" y="102952"/>
                  <a:pt x="24363" y="102991"/>
                </a:cubicBezTo>
                <a:cubicBezTo>
                  <a:pt x="24485" y="102991"/>
                  <a:pt x="24607" y="102942"/>
                  <a:pt x="24710" y="102942"/>
                </a:cubicBezTo>
                <a:cubicBezTo>
                  <a:pt x="24736" y="102942"/>
                  <a:pt x="24760" y="102945"/>
                  <a:pt x="24783" y="102952"/>
                </a:cubicBezTo>
                <a:cubicBezTo>
                  <a:pt x="24898" y="102991"/>
                  <a:pt x="25013" y="103144"/>
                  <a:pt x="25051" y="103144"/>
                </a:cubicBezTo>
                <a:cubicBezTo>
                  <a:pt x="25202" y="103068"/>
                  <a:pt x="25370" y="102942"/>
                  <a:pt x="25522" y="102942"/>
                </a:cubicBezTo>
                <a:cubicBezTo>
                  <a:pt x="25600" y="102942"/>
                  <a:pt x="25674" y="102976"/>
                  <a:pt x="25740" y="103067"/>
                </a:cubicBezTo>
                <a:cubicBezTo>
                  <a:pt x="25814" y="103152"/>
                  <a:pt x="25882" y="103181"/>
                  <a:pt x="25949" y="103181"/>
                </a:cubicBezTo>
                <a:cubicBezTo>
                  <a:pt x="26092" y="103181"/>
                  <a:pt x="26227" y="103047"/>
                  <a:pt x="26394" y="103047"/>
                </a:cubicBezTo>
                <a:cubicBezTo>
                  <a:pt x="26429" y="103047"/>
                  <a:pt x="26466" y="103053"/>
                  <a:pt x="26504" y="103067"/>
                </a:cubicBezTo>
                <a:cubicBezTo>
                  <a:pt x="26706" y="103157"/>
                  <a:pt x="26947" y="103194"/>
                  <a:pt x="27181" y="103194"/>
                </a:cubicBezTo>
                <a:cubicBezTo>
                  <a:pt x="27347" y="103194"/>
                  <a:pt x="27509" y="103175"/>
                  <a:pt x="27652" y="103144"/>
                </a:cubicBezTo>
                <a:cubicBezTo>
                  <a:pt x="28234" y="102993"/>
                  <a:pt x="28804" y="102975"/>
                  <a:pt x="29369" y="102975"/>
                </a:cubicBezTo>
                <a:cubicBezTo>
                  <a:pt x="29536" y="102975"/>
                  <a:pt x="29702" y="102977"/>
                  <a:pt x="29868" y="102977"/>
                </a:cubicBezTo>
                <a:cubicBezTo>
                  <a:pt x="30137" y="102977"/>
                  <a:pt x="30405" y="102973"/>
                  <a:pt x="30673" y="102952"/>
                </a:cubicBezTo>
                <a:cubicBezTo>
                  <a:pt x="30711" y="102949"/>
                  <a:pt x="30749" y="102947"/>
                  <a:pt x="30788" y="102947"/>
                </a:cubicBezTo>
                <a:cubicBezTo>
                  <a:pt x="30957" y="102947"/>
                  <a:pt x="31131" y="102977"/>
                  <a:pt x="31306" y="102977"/>
                </a:cubicBezTo>
                <a:cubicBezTo>
                  <a:pt x="31493" y="102977"/>
                  <a:pt x="31680" y="102942"/>
                  <a:pt x="31859" y="102799"/>
                </a:cubicBezTo>
                <a:cubicBezTo>
                  <a:pt x="31875" y="102767"/>
                  <a:pt x="31912" y="102755"/>
                  <a:pt x="31954" y="102755"/>
                </a:cubicBezTo>
                <a:cubicBezTo>
                  <a:pt x="32013" y="102755"/>
                  <a:pt x="32082" y="102777"/>
                  <a:pt x="32127" y="102799"/>
                </a:cubicBezTo>
                <a:cubicBezTo>
                  <a:pt x="32239" y="102880"/>
                  <a:pt x="32345" y="102913"/>
                  <a:pt x="32450" y="102913"/>
                </a:cubicBezTo>
                <a:cubicBezTo>
                  <a:pt x="32594" y="102913"/>
                  <a:pt x="32736" y="102850"/>
                  <a:pt x="32892" y="102761"/>
                </a:cubicBezTo>
                <a:cubicBezTo>
                  <a:pt x="32962" y="102714"/>
                  <a:pt x="33063" y="102681"/>
                  <a:pt x="33156" y="102681"/>
                </a:cubicBezTo>
                <a:cubicBezTo>
                  <a:pt x="33213" y="102681"/>
                  <a:pt x="33268" y="102694"/>
                  <a:pt x="33312" y="102723"/>
                </a:cubicBezTo>
                <a:cubicBezTo>
                  <a:pt x="33377" y="102774"/>
                  <a:pt x="33440" y="102794"/>
                  <a:pt x="33502" y="102794"/>
                </a:cubicBezTo>
                <a:cubicBezTo>
                  <a:pt x="33724" y="102794"/>
                  <a:pt x="33935" y="102539"/>
                  <a:pt x="34142" y="102539"/>
                </a:cubicBezTo>
                <a:cubicBezTo>
                  <a:pt x="34223" y="102539"/>
                  <a:pt x="34303" y="102578"/>
                  <a:pt x="34383" y="102685"/>
                </a:cubicBezTo>
                <a:cubicBezTo>
                  <a:pt x="34383" y="102692"/>
                  <a:pt x="34387" y="102695"/>
                  <a:pt x="34394" y="102695"/>
                </a:cubicBezTo>
                <a:cubicBezTo>
                  <a:pt x="34423" y="102695"/>
                  <a:pt x="34498" y="102639"/>
                  <a:pt x="34498" y="102608"/>
                </a:cubicBezTo>
                <a:cubicBezTo>
                  <a:pt x="34584" y="102350"/>
                  <a:pt x="34821" y="102285"/>
                  <a:pt x="35014" y="102285"/>
                </a:cubicBezTo>
                <a:cubicBezTo>
                  <a:pt x="35079" y="102285"/>
                  <a:pt x="35138" y="102293"/>
                  <a:pt x="35186" y="102302"/>
                </a:cubicBezTo>
                <a:cubicBezTo>
                  <a:pt x="35260" y="102315"/>
                  <a:pt x="35333" y="102320"/>
                  <a:pt x="35403" y="102320"/>
                </a:cubicBezTo>
                <a:cubicBezTo>
                  <a:pt x="35769" y="102320"/>
                  <a:pt x="36089" y="102175"/>
                  <a:pt x="36410" y="102111"/>
                </a:cubicBezTo>
                <a:cubicBezTo>
                  <a:pt x="36525" y="102073"/>
                  <a:pt x="36640" y="102073"/>
                  <a:pt x="36754" y="102073"/>
                </a:cubicBezTo>
                <a:cubicBezTo>
                  <a:pt x="36907" y="102034"/>
                  <a:pt x="37060" y="101958"/>
                  <a:pt x="37213" y="101958"/>
                </a:cubicBezTo>
                <a:cubicBezTo>
                  <a:pt x="37254" y="101950"/>
                  <a:pt x="37296" y="101947"/>
                  <a:pt x="37339" y="101947"/>
                </a:cubicBezTo>
                <a:cubicBezTo>
                  <a:pt x="37457" y="101947"/>
                  <a:pt x="37582" y="101969"/>
                  <a:pt x="37700" y="101969"/>
                </a:cubicBezTo>
                <a:cubicBezTo>
                  <a:pt x="37743" y="101969"/>
                  <a:pt x="37785" y="101966"/>
                  <a:pt x="37825" y="101958"/>
                </a:cubicBezTo>
                <a:cubicBezTo>
                  <a:pt x="38437" y="101843"/>
                  <a:pt x="39087" y="101652"/>
                  <a:pt x="39699" y="101499"/>
                </a:cubicBezTo>
                <a:cubicBezTo>
                  <a:pt x="39828" y="101435"/>
                  <a:pt x="39983" y="101290"/>
                  <a:pt x="40097" y="101290"/>
                </a:cubicBezTo>
                <a:cubicBezTo>
                  <a:pt x="40119" y="101290"/>
                  <a:pt x="40140" y="101295"/>
                  <a:pt x="40158" y="101308"/>
                </a:cubicBezTo>
                <a:cubicBezTo>
                  <a:pt x="40243" y="101350"/>
                  <a:pt x="40322" y="101366"/>
                  <a:pt x="40400" y="101366"/>
                </a:cubicBezTo>
                <a:cubicBezTo>
                  <a:pt x="40533" y="101366"/>
                  <a:pt x="40663" y="101318"/>
                  <a:pt x="40808" y="101270"/>
                </a:cubicBezTo>
                <a:cubicBezTo>
                  <a:pt x="41000" y="101193"/>
                  <a:pt x="41229" y="101193"/>
                  <a:pt x="41459" y="101117"/>
                </a:cubicBezTo>
                <a:cubicBezTo>
                  <a:pt x="41609" y="101056"/>
                  <a:pt x="41736" y="100830"/>
                  <a:pt x="41933" y="100830"/>
                </a:cubicBezTo>
                <a:cubicBezTo>
                  <a:pt x="41986" y="100830"/>
                  <a:pt x="42044" y="100846"/>
                  <a:pt x="42109" y="100887"/>
                </a:cubicBezTo>
                <a:cubicBezTo>
                  <a:pt x="42169" y="100925"/>
                  <a:pt x="42219" y="100940"/>
                  <a:pt x="42261" y="100940"/>
                </a:cubicBezTo>
                <a:cubicBezTo>
                  <a:pt x="42434" y="100940"/>
                  <a:pt x="42483" y="100681"/>
                  <a:pt x="42606" y="100619"/>
                </a:cubicBezTo>
                <a:cubicBezTo>
                  <a:pt x="43256" y="100428"/>
                  <a:pt x="43906" y="100199"/>
                  <a:pt x="44557" y="100007"/>
                </a:cubicBezTo>
                <a:cubicBezTo>
                  <a:pt x="44786" y="99931"/>
                  <a:pt x="45092" y="99969"/>
                  <a:pt x="45283" y="99816"/>
                </a:cubicBezTo>
                <a:cubicBezTo>
                  <a:pt x="46010" y="99357"/>
                  <a:pt x="46966" y="99396"/>
                  <a:pt x="47654" y="98784"/>
                </a:cubicBezTo>
                <a:cubicBezTo>
                  <a:pt x="48305" y="98745"/>
                  <a:pt x="48725" y="98210"/>
                  <a:pt x="49337" y="98019"/>
                </a:cubicBezTo>
                <a:cubicBezTo>
                  <a:pt x="49720" y="97904"/>
                  <a:pt x="50064" y="97751"/>
                  <a:pt x="50408" y="97560"/>
                </a:cubicBezTo>
                <a:cubicBezTo>
                  <a:pt x="51288" y="97101"/>
                  <a:pt x="52168" y="96604"/>
                  <a:pt x="53047" y="96106"/>
                </a:cubicBezTo>
                <a:cubicBezTo>
                  <a:pt x="53162" y="96068"/>
                  <a:pt x="53277" y="95915"/>
                  <a:pt x="53277" y="95800"/>
                </a:cubicBezTo>
                <a:cubicBezTo>
                  <a:pt x="53333" y="95574"/>
                  <a:pt x="53348" y="95515"/>
                  <a:pt x="53460" y="95515"/>
                </a:cubicBezTo>
                <a:cubicBezTo>
                  <a:pt x="53499" y="95515"/>
                  <a:pt x="53551" y="95523"/>
                  <a:pt x="53621" y="95533"/>
                </a:cubicBezTo>
                <a:cubicBezTo>
                  <a:pt x="53697" y="95533"/>
                  <a:pt x="53850" y="95571"/>
                  <a:pt x="53850" y="95571"/>
                </a:cubicBezTo>
                <a:cubicBezTo>
                  <a:pt x="54195" y="95074"/>
                  <a:pt x="54959" y="95188"/>
                  <a:pt x="55227" y="94577"/>
                </a:cubicBezTo>
                <a:cubicBezTo>
                  <a:pt x="55265" y="94462"/>
                  <a:pt x="55533" y="94385"/>
                  <a:pt x="55724" y="94309"/>
                </a:cubicBezTo>
                <a:cubicBezTo>
                  <a:pt x="55916" y="94232"/>
                  <a:pt x="56107" y="94194"/>
                  <a:pt x="56298" y="94118"/>
                </a:cubicBezTo>
                <a:cubicBezTo>
                  <a:pt x="56489" y="94079"/>
                  <a:pt x="56260" y="93850"/>
                  <a:pt x="56528" y="93735"/>
                </a:cubicBezTo>
                <a:cubicBezTo>
                  <a:pt x="57139" y="93429"/>
                  <a:pt x="57790" y="93085"/>
                  <a:pt x="58287" y="92588"/>
                </a:cubicBezTo>
                <a:cubicBezTo>
                  <a:pt x="58708" y="92205"/>
                  <a:pt x="59243" y="91976"/>
                  <a:pt x="59511" y="91479"/>
                </a:cubicBezTo>
                <a:cubicBezTo>
                  <a:pt x="59549" y="91402"/>
                  <a:pt x="59625" y="91364"/>
                  <a:pt x="59664" y="91326"/>
                </a:cubicBezTo>
                <a:cubicBezTo>
                  <a:pt x="60467" y="90752"/>
                  <a:pt x="61270" y="90178"/>
                  <a:pt x="62073" y="89566"/>
                </a:cubicBezTo>
                <a:cubicBezTo>
                  <a:pt x="62188" y="89528"/>
                  <a:pt x="62303" y="89413"/>
                  <a:pt x="62341" y="89299"/>
                </a:cubicBezTo>
                <a:cubicBezTo>
                  <a:pt x="62341" y="89107"/>
                  <a:pt x="62570" y="89031"/>
                  <a:pt x="62609" y="88954"/>
                </a:cubicBezTo>
                <a:cubicBezTo>
                  <a:pt x="62762" y="88610"/>
                  <a:pt x="63068" y="88572"/>
                  <a:pt x="63297" y="88457"/>
                </a:cubicBezTo>
                <a:cubicBezTo>
                  <a:pt x="63871" y="88151"/>
                  <a:pt x="64062" y="87501"/>
                  <a:pt x="64559" y="87119"/>
                </a:cubicBezTo>
                <a:cubicBezTo>
                  <a:pt x="65133" y="86698"/>
                  <a:pt x="65630" y="86124"/>
                  <a:pt x="66089" y="85589"/>
                </a:cubicBezTo>
                <a:cubicBezTo>
                  <a:pt x="66204" y="85474"/>
                  <a:pt x="66510" y="85283"/>
                  <a:pt x="66242" y="85015"/>
                </a:cubicBezTo>
                <a:cubicBezTo>
                  <a:pt x="66242" y="85015"/>
                  <a:pt x="66242" y="84900"/>
                  <a:pt x="66280" y="84900"/>
                </a:cubicBezTo>
                <a:cubicBezTo>
                  <a:pt x="66854" y="84862"/>
                  <a:pt x="66892" y="84365"/>
                  <a:pt x="67045" y="83982"/>
                </a:cubicBezTo>
                <a:cubicBezTo>
                  <a:pt x="67083" y="83906"/>
                  <a:pt x="67160" y="83791"/>
                  <a:pt x="67198" y="83791"/>
                </a:cubicBezTo>
                <a:cubicBezTo>
                  <a:pt x="67227" y="83796"/>
                  <a:pt x="67254" y="83798"/>
                  <a:pt x="67279" y="83798"/>
                </a:cubicBezTo>
                <a:cubicBezTo>
                  <a:pt x="67658" y="83798"/>
                  <a:pt x="67679" y="83292"/>
                  <a:pt x="68001" y="83256"/>
                </a:cubicBezTo>
                <a:cubicBezTo>
                  <a:pt x="68001" y="82797"/>
                  <a:pt x="68613" y="82758"/>
                  <a:pt x="68690" y="82453"/>
                </a:cubicBezTo>
                <a:cubicBezTo>
                  <a:pt x="68919" y="81688"/>
                  <a:pt x="69799" y="81343"/>
                  <a:pt x="69914" y="80540"/>
                </a:cubicBezTo>
                <a:cubicBezTo>
                  <a:pt x="70411" y="80311"/>
                  <a:pt x="70296" y="79546"/>
                  <a:pt x="70870" y="79355"/>
                </a:cubicBezTo>
                <a:cubicBezTo>
                  <a:pt x="70755" y="78896"/>
                  <a:pt x="71405" y="78857"/>
                  <a:pt x="71367" y="78437"/>
                </a:cubicBezTo>
                <a:cubicBezTo>
                  <a:pt x="71329" y="78016"/>
                  <a:pt x="71673" y="77787"/>
                  <a:pt x="71979" y="77557"/>
                </a:cubicBezTo>
                <a:cubicBezTo>
                  <a:pt x="72017" y="77557"/>
                  <a:pt x="72055" y="77481"/>
                  <a:pt x="72017" y="77442"/>
                </a:cubicBezTo>
                <a:cubicBezTo>
                  <a:pt x="71979" y="77060"/>
                  <a:pt x="72208" y="76830"/>
                  <a:pt x="72438" y="76601"/>
                </a:cubicBezTo>
                <a:cubicBezTo>
                  <a:pt x="72553" y="76524"/>
                  <a:pt x="72667" y="76410"/>
                  <a:pt x="72667" y="76295"/>
                </a:cubicBezTo>
                <a:cubicBezTo>
                  <a:pt x="72744" y="75759"/>
                  <a:pt x="73050" y="75301"/>
                  <a:pt x="73241" y="74803"/>
                </a:cubicBezTo>
                <a:cubicBezTo>
                  <a:pt x="73509" y="74191"/>
                  <a:pt x="74082" y="73732"/>
                  <a:pt x="74044" y="73006"/>
                </a:cubicBezTo>
                <a:cubicBezTo>
                  <a:pt x="74044" y="72815"/>
                  <a:pt x="74274" y="72662"/>
                  <a:pt x="74388" y="72470"/>
                </a:cubicBezTo>
                <a:cubicBezTo>
                  <a:pt x="74503" y="72317"/>
                  <a:pt x="74618" y="72088"/>
                  <a:pt x="74694" y="71897"/>
                </a:cubicBezTo>
                <a:cubicBezTo>
                  <a:pt x="74771" y="71744"/>
                  <a:pt x="74809" y="71514"/>
                  <a:pt x="74886" y="71361"/>
                </a:cubicBezTo>
                <a:cubicBezTo>
                  <a:pt x="74924" y="71208"/>
                  <a:pt x="75115" y="71017"/>
                  <a:pt x="75077" y="70902"/>
                </a:cubicBezTo>
                <a:cubicBezTo>
                  <a:pt x="75039" y="70482"/>
                  <a:pt x="75383" y="70252"/>
                  <a:pt x="75459" y="69908"/>
                </a:cubicBezTo>
                <a:cubicBezTo>
                  <a:pt x="75498" y="69678"/>
                  <a:pt x="75651" y="69487"/>
                  <a:pt x="75689" y="69296"/>
                </a:cubicBezTo>
                <a:cubicBezTo>
                  <a:pt x="75880" y="68760"/>
                  <a:pt x="76071" y="68225"/>
                  <a:pt x="76262" y="67690"/>
                </a:cubicBezTo>
                <a:cubicBezTo>
                  <a:pt x="76377" y="67231"/>
                  <a:pt x="76454" y="66695"/>
                  <a:pt x="76645" y="66236"/>
                </a:cubicBezTo>
                <a:cubicBezTo>
                  <a:pt x="76760" y="65968"/>
                  <a:pt x="76721" y="65663"/>
                  <a:pt x="76874" y="65357"/>
                </a:cubicBezTo>
                <a:cubicBezTo>
                  <a:pt x="76989" y="65089"/>
                  <a:pt x="76951" y="64745"/>
                  <a:pt x="77027" y="64439"/>
                </a:cubicBezTo>
                <a:cubicBezTo>
                  <a:pt x="77142" y="64094"/>
                  <a:pt x="77410" y="63788"/>
                  <a:pt x="77410" y="63444"/>
                </a:cubicBezTo>
                <a:cubicBezTo>
                  <a:pt x="77410" y="63138"/>
                  <a:pt x="77716" y="62909"/>
                  <a:pt x="77601" y="62641"/>
                </a:cubicBezTo>
                <a:cubicBezTo>
                  <a:pt x="77448" y="62297"/>
                  <a:pt x="77754" y="62029"/>
                  <a:pt x="77792" y="61723"/>
                </a:cubicBezTo>
                <a:cubicBezTo>
                  <a:pt x="77831" y="60652"/>
                  <a:pt x="78213" y="59620"/>
                  <a:pt x="78175" y="58549"/>
                </a:cubicBezTo>
                <a:cubicBezTo>
                  <a:pt x="78175" y="58472"/>
                  <a:pt x="78175" y="58396"/>
                  <a:pt x="78213" y="58358"/>
                </a:cubicBezTo>
                <a:cubicBezTo>
                  <a:pt x="78595" y="58166"/>
                  <a:pt x="78442" y="57937"/>
                  <a:pt x="78366" y="57593"/>
                </a:cubicBezTo>
                <a:cubicBezTo>
                  <a:pt x="78290" y="57134"/>
                  <a:pt x="78481" y="56675"/>
                  <a:pt x="78557" y="56177"/>
                </a:cubicBezTo>
                <a:cubicBezTo>
                  <a:pt x="78710" y="54992"/>
                  <a:pt x="78557" y="53806"/>
                  <a:pt x="78710" y="52659"/>
                </a:cubicBezTo>
                <a:cubicBezTo>
                  <a:pt x="78787" y="52047"/>
                  <a:pt x="78710" y="51473"/>
                  <a:pt x="78748" y="50861"/>
                </a:cubicBezTo>
                <a:cubicBezTo>
                  <a:pt x="78825" y="49943"/>
                  <a:pt x="78748" y="48987"/>
                  <a:pt x="78825" y="48069"/>
                </a:cubicBezTo>
                <a:cubicBezTo>
                  <a:pt x="78940" y="47037"/>
                  <a:pt x="78710" y="46042"/>
                  <a:pt x="78595" y="45048"/>
                </a:cubicBezTo>
                <a:cubicBezTo>
                  <a:pt x="78557" y="44589"/>
                  <a:pt x="78519" y="44092"/>
                  <a:pt x="78442" y="43633"/>
                </a:cubicBezTo>
                <a:lnTo>
                  <a:pt x="78481" y="43633"/>
                </a:lnTo>
                <a:cubicBezTo>
                  <a:pt x="78481" y="43518"/>
                  <a:pt x="78519" y="43403"/>
                  <a:pt x="78481" y="43327"/>
                </a:cubicBezTo>
                <a:cubicBezTo>
                  <a:pt x="78251" y="42677"/>
                  <a:pt x="78404" y="41950"/>
                  <a:pt x="78060" y="41338"/>
                </a:cubicBezTo>
                <a:cubicBezTo>
                  <a:pt x="78022" y="41223"/>
                  <a:pt x="78022" y="41109"/>
                  <a:pt x="78022" y="41032"/>
                </a:cubicBezTo>
                <a:cubicBezTo>
                  <a:pt x="77831" y="39961"/>
                  <a:pt x="77639" y="38852"/>
                  <a:pt x="77410" y="37781"/>
                </a:cubicBezTo>
                <a:cubicBezTo>
                  <a:pt x="77295" y="37284"/>
                  <a:pt x="77410" y="36710"/>
                  <a:pt x="76913" y="36290"/>
                </a:cubicBezTo>
                <a:cubicBezTo>
                  <a:pt x="77066" y="35907"/>
                  <a:pt x="76874" y="35563"/>
                  <a:pt x="76760" y="35219"/>
                </a:cubicBezTo>
                <a:cubicBezTo>
                  <a:pt x="76415" y="34186"/>
                  <a:pt x="76109" y="33115"/>
                  <a:pt x="75574" y="32197"/>
                </a:cubicBezTo>
                <a:cubicBezTo>
                  <a:pt x="75039" y="31203"/>
                  <a:pt x="74656" y="30132"/>
                  <a:pt x="74006" y="29176"/>
                </a:cubicBezTo>
                <a:cubicBezTo>
                  <a:pt x="73853" y="28258"/>
                  <a:pt x="72973" y="27646"/>
                  <a:pt x="72820" y="26690"/>
                </a:cubicBezTo>
                <a:cubicBezTo>
                  <a:pt x="72820" y="26613"/>
                  <a:pt x="72667" y="26499"/>
                  <a:pt x="72591" y="26422"/>
                </a:cubicBezTo>
                <a:cubicBezTo>
                  <a:pt x="72514" y="26307"/>
                  <a:pt x="72400" y="26193"/>
                  <a:pt x="72323" y="26040"/>
                </a:cubicBezTo>
                <a:cubicBezTo>
                  <a:pt x="72017" y="25504"/>
                  <a:pt x="71826" y="24854"/>
                  <a:pt x="71176" y="24510"/>
                </a:cubicBezTo>
                <a:cubicBezTo>
                  <a:pt x="71138" y="24510"/>
                  <a:pt x="71099" y="24433"/>
                  <a:pt x="71099" y="24395"/>
                </a:cubicBezTo>
                <a:cubicBezTo>
                  <a:pt x="71061" y="23936"/>
                  <a:pt x="70679" y="23745"/>
                  <a:pt x="70487" y="23401"/>
                </a:cubicBezTo>
                <a:cubicBezTo>
                  <a:pt x="70067" y="22597"/>
                  <a:pt x="69569" y="21871"/>
                  <a:pt x="68996" y="21221"/>
                </a:cubicBezTo>
                <a:cubicBezTo>
                  <a:pt x="68805" y="21029"/>
                  <a:pt x="68652" y="20762"/>
                  <a:pt x="68460" y="20570"/>
                </a:cubicBezTo>
                <a:cubicBezTo>
                  <a:pt x="68078" y="20150"/>
                  <a:pt x="67542" y="19806"/>
                  <a:pt x="67313" y="19308"/>
                </a:cubicBezTo>
                <a:cubicBezTo>
                  <a:pt x="66969" y="18582"/>
                  <a:pt x="66319" y="18237"/>
                  <a:pt x="65860" y="17625"/>
                </a:cubicBezTo>
                <a:cubicBezTo>
                  <a:pt x="65324" y="16899"/>
                  <a:pt x="64636" y="16325"/>
                  <a:pt x="64024" y="15637"/>
                </a:cubicBezTo>
                <a:cubicBezTo>
                  <a:pt x="63335" y="14948"/>
                  <a:pt x="62685" y="14260"/>
                  <a:pt x="61958" y="13610"/>
                </a:cubicBezTo>
                <a:cubicBezTo>
                  <a:pt x="61729" y="13380"/>
                  <a:pt x="61500" y="13189"/>
                  <a:pt x="61232" y="12959"/>
                </a:cubicBezTo>
                <a:cubicBezTo>
                  <a:pt x="60658" y="12501"/>
                  <a:pt x="60046" y="12080"/>
                  <a:pt x="59472" y="11583"/>
                </a:cubicBezTo>
                <a:cubicBezTo>
                  <a:pt x="59128" y="11238"/>
                  <a:pt x="58631" y="11047"/>
                  <a:pt x="58363" y="10588"/>
                </a:cubicBezTo>
                <a:cubicBezTo>
                  <a:pt x="58325" y="10512"/>
                  <a:pt x="58249" y="10473"/>
                  <a:pt x="58172" y="10397"/>
                </a:cubicBezTo>
                <a:cubicBezTo>
                  <a:pt x="57560" y="9862"/>
                  <a:pt x="56757" y="9594"/>
                  <a:pt x="56222" y="8944"/>
                </a:cubicBezTo>
                <a:cubicBezTo>
                  <a:pt x="56107" y="8829"/>
                  <a:pt x="55916" y="8791"/>
                  <a:pt x="55724" y="8752"/>
                </a:cubicBezTo>
                <a:cubicBezTo>
                  <a:pt x="55533" y="8714"/>
                  <a:pt x="55533" y="8714"/>
                  <a:pt x="55227" y="8332"/>
                </a:cubicBezTo>
                <a:cubicBezTo>
                  <a:pt x="55189" y="8293"/>
                  <a:pt x="55036" y="8293"/>
                  <a:pt x="55036" y="8293"/>
                </a:cubicBezTo>
                <a:cubicBezTo>
                  <a:pt x="54944" y="8416"/>
                  <a:pt x="54871" y="8465"/>
                  <a:pt x="54806" y="8465"/>
                </a:cubicBezTo>
                <a:cubicBezTo>
                  <a:pt x="54709" y="8465"/>
                  <a:pt x="54631" y="8355"/>
                  <a:pt x="54539" y="8217"/>
                </a:cubicBezTo>
                <a:cubicBezTo>
                  <a:pt x="54462" y="8064"/>
                  <a:pt x="54386" y="7835"/>
                  <a:pt x="54309" y="7796"/>
                </a:cubicBezTo>
                <a:cubicBezTo>
                  <a:pt x="53850" y="7682"/>
                  <a:pt x="53544" y="7414"/>
                  <a:pt x="53200" y="7184"/>
                </a:cubicBezTo>
                <a:cubicBezTo>
                  <a:pt x="53085" y="7108"/>
                  <a:pt x="52971" y="7070"/>
                  <a:pt x="52856" y="7031"/>
                </a:cubicBezTo>
                <a:lnTo>
                  <a:pt x="52168" y="6802"/>
                </a:lnTo>
                <a:cubicBezTo>
                  <a:pt x="52061" y="6731"/>
                  <a:pt x="51890" y="6530"/>
                  <a:pt x="51804" y="6530"/>
                </a:cubicBezTo>
                <a:cubicBezTo>
                  <a:pt x="51797" y="6530"/>
                  <a:pt x="51791" y="6531"/>
                  <a:pt x="51785" y="6534"/>
                </a:cubicBezTo>
                <a:cubicBezTo>
                  <a:pt x="51733" y="6563"/>
                  <a:pt x="51690" y="6576"/>
                  <a:pt x="51654" y="6576"/>
                </a:cubicBezTo>
                <a:cubicBezTo>
                  <a:pt x="51465" y="6576"/>
                  <a:pt x="51481" y="6226"/>
                  <a:pt x="51311" y="6226"/>
                </a:cubicBezTo>
                <a:cubicBezTo>
                  <a:pt x="51303" y="6226"/>
                  <a:pt x="51296" y="6227"/>
                  <a:pt x="51288" y="6228"/>
                </a:cubicBezTo>
                <a:cubicBezTo>
                  <a:pt x="51277" y="6234"/>
                  <a:pt x="51266" y="6236"/>
                  <a:pt x="51255" y="6236"/>
                </a:cubicBezTo>
                <a:cubicBezTo>
                  <a:pt x="51190" y="6236"/>
                  <a:pt x="51129" y="6152"/>
                  <a:pt x="51097" y="6152"/>
                </a:cubicBezTo>
                <a:cubicBezTo>
                  <a:pt x="51050" y="6162"/>
                  <a:pt x="51007" y="6167"/>
                  <a:pt x="50968" y="6167"/>
                </a:cubicBezTo>
                <a:cubicBezTo>
                  <a:pt x="50720" y="6167"/>
                  <a:pt x="50612" y="5978"/>
                  <a:pt x="50446" y="5846"/>
                </a:cubicBezTo>
                <a:cubicBezTo>
                  <a:pt x="49911" y="5349"/>
                  <a:pt x="49337" y="5004"/>
                  <a:pt x="48611" y="4890"/>
                </a:cubicBezTo>
                <a:cubicBezTo>
                  <a:pt x="48385" y="4857"/>
                  <a:pt x="48213" y="4634"/>
                  <a:pt x="47959" y="4634"/>
                </a:cubicBezTo>
                <a:cubicBezTo>
                  <a:pt x="47911" y="4634"/>
                  <a:pt x="47861" y="4642"/>
                  <a:pt x="47807" y="4660"/>
                </a:cubicBezTo>
                <a:cubicBezTo>
                  <a:pt x="47731" y="4660"/>
                  <a:pt x="47654" y="4354"/>
                  <a:pt x="47502" y="4278"/>
                </a:cubicBezTo>
                <a:cubicBezTo>
                  <a:pt x="47425" y="4201"/>
                  <a:pt x="47234" y="4239"/>
                  <a:pt x="47119" y="4163"/>
                </a:cubicBezTo>
                <a:cubicBezTo>
                  <a:pt x="46851" y="4048"/>
                  <a:pt x="46584" y="3780"/>
                  <a:pt x="46354" y="3780"/>
                </a:cubicBezTo>
                <a:cubicBezTo>
                  <a:pt x="46048" y="3780"/>
                  <a:pt x="45857" y="3742"/>
                  <a:pt x="45589" y="3627"/>
                </a:cubicBezTo>
                <a:cubicBezTo>
                  <a:pt x="45550" y="3667"/>
                  <a:pt x="45516" y="3683"/>
                  <a:pt x="45486" y="3683"/>
                </a:cubicBezTo>
                <a:cubicBezTo>
                  <a:pt x="45355" y="3683"/>
                  <a:pt x="45301" y="3369"/>
                  <a:pt x="45166" y="3369"/>
                </a:cubicBezTo>
                <a:cubicBezTo>
                  <a:pt x="45125" y="3369"/>
                  <a:pt x="45076" y="3398"/>
                  <a:pt x="45016" y="3474"/>
                </a:cubicBezTo>
                <a:cubicBezTo>
                  <a:pt x="44824" y="3091"/>
                  <a:pt x="44554" y="2963"/>
                  <a:pt x="44205" y="2963"/>
                </a:cubicBezTo>
                <a:cubicBezTo>
                  <a:pt x="44067" y="2963"/>
                  <a:pt x="43916" y="2983"/>
                  <a:pt x="43753" y="3016"/>
                </a:cubicBezTo>
                <a:cubicBezTo>
                  <a:pt x="43733" y="3019"/>
                  <a:pt x="43712" y="3021"/>
                  <a:pt x="43689" y="3021"/>
                </a:cubicBezTo>
                <a:cubicBezTo>
                  <a:pt x="43493" y="3021"/>
                  <a:pt x="43206" y="2881"/>
                  <a:pt x="43103" y="2710"/>
                </a:cubicBezTo>
                <a:cubicBezTo>
                  <a:pt x="43038" y="2605"/>
                  <a:pt x="42955" y="2576"/>
                  <a:pt x="42869" y="2576"/>
                </a:cubicBezTo>
                <a:cubicBezTo>
                  <a:pt x="42765" y="2576"/>
                  <a:pt x="42657" y="2618"/>
                  <a:pt x="42573" y="2618"/>
                </a:cubicBezTo>
                <a:cubicBezTo>
                  <a:pt x="42523" y="2618"/>
                  <a:pt x="42481" y="2603"/>
                  <a:pt x="42453" y="2557"/>
                </a:cubicBezTo>
                <a:cubicBezTo>
                  <a:pt x="42396" y="2465"/>
                  <a:pt x="42345" y="2435"/>
                  <a:pt x="42300" y="2435"/>
                </a:cubicBezTo>
                <a:cubicBezTo>
                  <a:pt x="42214" y="2435"/>
                  <a:pt x="42145" y="2541"/>
                  <a:pt x="42080" y="2541"/>
                </a:cubicBezTo>
                <a:cubicBezTo>
                  <a:pt x="42064" y="2541"/>
                  <a:pt x="42048" y="2534"/>
                  <a:pt x="42032" y="2518"/>
                </a:cubicBezTo>
                <a:cubicBezTo>
                  <a:pt x="41879" y="2404"/>
                  <a:pt x="41803" y="2212"/>
                  <a:pt x="41650" y="2098"/>
                </a:cubicBezTo>
                <a:cubicBezTo>
                  <a:pt x="41497" y="2021"/>
                  <a:pt x="41306" y="2021"/>
                  <a:pt x="41153" y="1983"/>
                </a:cubicBezTo>
                <a:cubicBezTo>
                  <a:pt x="40732" y="1906"/>
                  <a:pt x="40235" y="1945"/>
                  <a:pt x="39891" y="1715"/>
                </a:cubicBezTo>
                <a:cubicBezTo>
                  <a:pt x="39585" y="1524"/>
                  <a:pt x="39164" y="1753"/>
                  <a:pt x="38973" y="1447"/>
                </a:cubicBezTo>
                <a:cubicBezTo>
                  <a:pt x="38820" y="1275"/>
                  <a:pt x="38648" y="1237"/>
                  <a:pt x="38475" y="1237"/>
                </a:cubicBezTo>
                <a:cubicBezTo>
                  <a:pt x="38338" y="1237"/>
                  <a:pt x="38200" y="1262"/>
                  <a:pt x="38072" y="1262"/>
                </a:cubicBezTo>
                <a:cubicBezTo>
                  <a:pt x="38040" y="1262"/>
                  <a:pt x="38009" y="1260"/>
                  <a:pt x="37978" y="1256"/>
                </a:cubicBezTo>
                <a:cubicBezTo>
                  <a:pt x="37512" y="1140"/>
                  <a:pt x="37023" y="912"/>
                  <a:pt x="36529" y="912"/>
                </a:cubicBezTo>
                <a:cubicBezTo>
                  <a:pt x="36375" y="912"/>
                  <a:pt x="36220" y="934"/>
                  <a:pt x="36066" y="988"/>
                </a:cubicBezTo>
                <a:cubicBezTo>
                  <a:pt x="35989" y="988"/>
                  <a:pt x="35913" y="874"/>
                  <a:pt x="35875" y="874"/>
                </a:cubicBezTo>
                <a:cubicBezTo>
                  <a:pt x="35110" y="682"/>
                  <a:pt x="34345" y="644"/>
                  <a:pt x="33618" y="568"/>
                </a:cubicBezTo>
                <a:cubicBezTo>
                  <a:pt x="33312" y="530"/>
                  <a:pt x="33006" y="568"/>
                  <a:pt x="32739" y="415"/>
                </a:cubicBezTo>
                <a:cubicBezTo>
                  <a:pt x="32547" y="300"/>
                  <a:pt x="32394" y="300"/>
                  <a:pt x="32165" y="300"/>
                </a:cubicBezTo>
                <a:cubicBezTo>
                  <a:pt x="31974" y="300"/>
                  <a:pt x="31744" y="262"/>
                  <a:pt x="31515" y="262"/>
                </a:cubicBezTo>
                <a:cubicBezTo>
                  <a:pt x="31502" y="263"/>
                  <a:pt x="31489" y="264"/>
                  <a:pt x="31476" y="264"/>
                </a:cubicBezTo>
                <a:cubicBezTo>
                  <a:pt x="31259" y="264"/>
                  <a:pt x="31029" y="78"/>
                  <a:pt x="30814" y="78"/>
                </a:cubicBezTo>
                <a:cubicBezTo>
                  <a:pt x="30697" y="78"/>
                  <a:pt x="30585" y="132"/>
                  <a:pt x="30482" y="300"/>
                </a:cubicBezTo>
                <a:lnTo>
                  <a:pt x="30406" y="300"/>
                </a:lnTo>
                <a:cubicBezTo>
                  <a:pt x="29908" y="109"/>
                  <a:pt x="29373" y="224"/>
                  <a:pt x="28952" y="71"/>
                </a:cubicBezTo>
                <a:cubicBezTo>
                  <a:pt x="28812" y="24"/>
                  <a:pt x="28676" y="9"/>
                  <a:pt x="28542" y="9"/>
                </a:cubicBezTo>
                <a:cubicBezTo>
                  <a:pt x="28316" y="9"/>
                  <a:pt x="28096" y="51"/>
                  <a:pt x="27879" y="51"/>
                </a:cubicBezTo>
                <a:cubicBezTo>
                  <a:pt x="27803" y="51"/>
                  <a:pt x="27727" y="46"/>
                  <a:pt x="27652" y="32"/>
                </a:cubicBezTo>
                <a:cubicBezTo>
                  <a:pt x="27591" y="25"/>
                  <a:pt x="27529" y="22"/>
                  <a:pt x="27468" y="22"/>
                </a:cubicBezTo>
                <a:cubicBezTo>
                  <a:pt x="27223" y="22"/>
                  <a:pt x="26979" y="71"/>
                  <a:pt x="26734" y="71"/>
                </a:cubicBezTo>
                <a:cubicBezTo>
                  <a:pt x="26351" y="71"/>
                  <a:pt x="26007" y="32"/>
                  <a:pt x="25625" y="32"/>
                </a:cubicBezTo>
                <a:cubicBezTo>
                  <a:pt x="25380" y="32"/>
                  <a:pt x="25135" y="130"/>
                  <a:pt x="24910" y="130"/>
                </a:cubicBezTo>
                <a:cubicBezTo>
                  <a:pt x="24854" y="130"/>
                  <a:pt x="24799" y="124"/>
                  <a:pt x="24745" y="109"/>
                </a:cubicBezTo>
                <a:cubicBezTo>
                  <a:pt x="24539" y="29"/>
                  <a:pt x="24334" y="0"/>
                  <a:pt x="24128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4" name="Google Shape;54;p15"/>
          <p:cNvSpPr/>
          <p:nvPr/>
        </p:nvSpPr>
        <p:spPr>
          <a:xfrm>
            <a:off x="1277499" y="5993511"/>
            <a:ext cx="1095" cy="28"/>
          </a:xfrm>
          <a:custGeom>
            <a:avLst/>
            <a:gdLst/>
            <a:ahLst/>
            <a:cxnLst/>
            <a:rect l="l" t="t" r="r" b="b"/>
            <a:pathLst>
              <a:path w="40" h="1" extrusionOk="0">
                <a:moveTo>
                  <a:pt x="39" y="1"/>
                </a:moveTo>
                <a:cubicBezTo>
                  <a:pt x="39" y="1"/>
                  <a:pt x="39" y="1"/>
                  <a:pt x="39" y="1"/>
                </a:cubicBezTo>
                <a:cubicBezTo>
                  <a:pt x="39" y="1"/>
                  <a:pt x="1" y="1"/>
                  <a:pt x="1" y="1"/>
                </a:cubicBezTo>
                <a:lnTo>
                  <a:pt x="39" y="1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5" name="Google Shape;55;p15"/>
          <p:cNvSpPr/>
          <p:nvPr/>
        </p:nvSpPr>
        <p:spPr>
          <a:xfrm>
            <a:off x="1270193" y="5986782"/>
            <a:ext cx="12584" cy="6757"/>
          </a:xfrm>
          <a:custGeom>
            <a:avLst/>
            <a:gdLst/>
            <a:ahLst/>
            <a:cxnLst/>
            <a:rect l="l" t="t" r="r" b="b"/>
            <a:pathLst>
              <a:path w="460" h="247" extrusionOk="0">
                <a:moveTo>
                  <a:pt x="354" y="0"/>
                </a:moveTo>
                <a:cubicBezTo>
                  <a:pt x="336" y="0"/>
                  <a:pt x="319" y="5"/>
                  <a:pt x="306" y="17"/>
                </a:cubicBezTo>
                <a:cubicBezTo>
                  <a:pt x="191" y="56"/>
                  <a:pt x="115" y="132"/>
                  <a:pt x="0" y="170"/>
                </a:cubicBezTo>
                <a:cubicBezTo>
                  <a:pt x="115" y="209"/>
                  <a:pt x="191" y="209"/>
                  <a:pt x="306" y="247"/>
                </a:cubicBezTo>
                <a:cubicBezTo>
                  <a:pt x="344" y="170"/>
                  <a:pt x="421" y="94"/>
                  <a:pt x="459" y="17"/>
                </a:cubicBezTo>
                <a:cubicBezTo>
                  <a:pt x="434" y="17"/>
                  <a:pt x="391" y="0"/>
                  <a:pt x="354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6" name="Google Shape;56;p15"/>
          <p:cNvSpPr/>
          <p:nvPr/>
        </p:nvSpPr>
        <p:spPr>
          <a:xfrm>
            <a:off x="-6268" y="1168068"/>
            <a:ext cx="1294271" cy="1418744"/>
          </a:xfrm>
          <a:custGeom>
            <a:avLst/>
            <a:gdLst/>
            <a:ahLst/>
            <a:cxnLst/>
            <a:rect l="l" t="t" r="r" b="b"/>
            <a:pathLst>
              <a:path w="47311" h="51861" extrusionOk="0">
                <a:moveTo>
                  <a:pt x="19735" y="0"/>
                </a:moveTo>
                <a:cubicBezTo>
                  <a:pt x="19620" y="77"/>
                  <a:pt x="19505" y="191"/>
                  <a:pt x="19391" y="230"/>
                </a:cubicBezTo>
                <a:cubicBezTo>
                  <a:pt x="18932" y="268"/>
                  <a:pt x="18473" y="306"/>
                  <a:pt x="17976" y="383"/>
                </a:cubicBezTo>
                <a:cubicBezTo>
                  <a:pt x="17555" y="421"/>
                  <a:pt x="17134" y="421"/>
                  <a:pt x="16713" y="497"/>
                </a:cubicBezTo>
                <a:cubicBezTo>
                  <a:pt x="16293" y="574"/>
                  <a:pt x="15796" y="574"/>
                  <a:pt x="15413" y="803"/>
                </a:cubicBezTo>
                <a:cubicBezTo>
                  <a:pt x="15031" y="1033"/>
                  <a:pt x="14648" y="995"/>
                  <a:pt x="14266" y="1109"/>
                </a:cubicBezTo>
                <a:cubicBezTo>
                  <a:pt x="13769" y="1301"/>
                  <a:pt x="13233" y="1454"/>
                  <a:pt x="12736" y="1568"/>
                </a:cubicBezTo>
                <a:cubicBezTo>
                  <a:pt x="12009" y="1721"/>
                  <a:pt x="11436" y="2066"/>
                  <a:pt x="10785" y="2333"/>
                </a:cubicBezTo>
                <a:cubicBezTo>
                  <a:pt x="10135" y="2563"/>
                  <a:pt x="9523" y="3022"/>
                  <a:pt x="8873" y="3289"/>
                </a:cubicBezTo>
                <a:cubicBezTo>
                  <a:pt x="8185" y="3595"/>
                  <a:pt x="7764" y="4207"/>
                  <a:pt x="7114" y="4552"/>
                </a:cubicBezTo>
                <a:cubicBezTo>
                  <a:pt x="6961" y="4628"/>
                  <a:pt x="6846" y="4781"/>
                  <a:pt x="6693" y="4857"/>
                </a:cubicBezTo>
                <a:cubicBezTo>
                  <a:pt x="6558" y="4925"/>
                  <a:pt x="6691" y="5260"/>
                  <a:pt x="6462" y="5260"/>
                </a:cubicBezTo>
                <a:cubicBezTo>
                  <a:pt x="6432" y="5260"/>
                  <a:pt x="6394" y="5254"/>
                  <a:pt x="6349" y="5240"/>
                </a:cubicBezTo>
                <a:cubicBezTo>
                  <a:pt x="5699" y="5814"/>
                  <a:pt x="4934" y="6234"/>
                  <a:pt x="4475" y="7038"/>
                </a:cubicBezTo>
                <a:cubicBezTo>
                  <a:pt x="4398" y="7190"/>
                  <a:pt x="4207" y="7382"/>
                  <a:pt x="4092" y="7382"/>
                </a:cubicBezTo>
                <a:cubicBezTo>
                  <a:pt x="3633" y="7382"/>
                  <a:pt x="3557" y="7917"/>
                  <a:pt x="3136" y="8032"/>
                </a:cubicBezTo>
                <a:cubicBezTo>
                  <a:pt x="2945" y="8108"/>
                  <a:pt x="2677" y="8376"/>
                  <a:pt x="2715" y="8491"/>
                </a:cubicBezTo>
                <a:cubicBezTo>
                  <a:pt x="2792" y="8988"/>
                  <a:pt x="2333" y="9026"/>
                  <a:pt x="2180" y="9294"/>
                </a:cubicBezTo>
                <a:cubicBezTo>
                  <a:pt x="2104" y="9447"/>
                  <a:pt x="2027" y="9562"/>
                  <a:pt x="1912" y="9638"/>
                </a:cubicBezTo>
                <a:cubicBezTo>
                  <a:pt x="1530" y="9829"/>
                  <a:pt x="1798" y="10250"/>
                  <a:pt x="1530" y="10518"/>
                </a:cubicBezTo>
                <a:cubicBezTo>
                  <a:pt x="1262" y="10709"/>
                  <a:pt x="1033" y="10977"/>
                  <a:pt x="803" y="11245"/>
                </a:cubicBezTo>
                <a:cubicBezTo>
                  <a:pt x="688" y="11359"/>
                  <a:pt x="535" y="11589"/>
                  <a:pt x="574" y="11742"/>
                </a:cubicBezTo>
                <a:cubicBezTo>
                  <a:pt x="604" y="11987"/>
                  <a:pt x="488" y="12011"/>
                  <a:pt x="342" y="12011"/>
                </a:cubicBezTo>
                <a:cubicBezTo>
                  <a:pt x="306" y="12011"/>
                  <a:pt x="268" y="12009"/>
                  <a:pt x="229" y="12009"/>
                </a:cubicBezTo>
                <a:cubicBezTo>
                  <a:pt x="229" y="12009"/>
                  <a:pt x="191" y="12124"/>
                  <a:pt x="229" y="12162"/>
                </a:cubicBezTo>
                <a:cubicBezTo>
                  <a:pt x="344" y="12354"/>
                  <a:pt x="229" y="12468"/>
                  <a:pt x="76" y="12507"/>
                </a:cubicBezTo>
                <a:cubicBezTo>
                  <a:pt x="38" y="12507"/>
                  <a:pt x="38" y="12545"/>
                  <a:pt x="0" y="12545"/>
                </a:cubicBezTo>
                <a:lnTo>
                  <a:pt x="0" y="15260"/>
                </a:lnTo>
                <a:cubicBezTo>
                  <a:pt x="76" y="15107"/>
                  <a:pt x="191" y="14954"/>
                  <a:pt x="306" y="14763"/>
                </a:cubicBezTo>
                <a:cubicBezTo>
                  <a:pt x="421" y="14610"/>
                  <a:pt x="459" y="14381"/>
                  <a:pt x="497" y="14151"/>
                </a:cubicBezTo>
                <a:cubicBezTo>
                  <a:pt x="535" y="13807"/>
                  <a:pt x="727" y="13692"/>
                  <a:pt x="1033" y="13692"/>
                </a:cubicBezTo>
                <a:cubicBezTo>
                  <a:pt x="1033" y="13501"/>
                  <a:pt x="994" y="13348"/>
                  <a:pt x="994" y="13195"/>
                </a:cubicBezTo>
                <a:cubicBezTo>
                  <a:pt x="1109" y="13157"/>
                  <a:pt x="1224" y="13119"/>
                  <a:pt x="1339" y="13042"/>
                </a:cubicBezTo>
                <a:cubicBezTo>
                  <a:pt x="1300" y="12889"/>
                  <a:pt x="1300" y="12774"/>
                  <a:pt x="1262" y="12621"/>
                </a:cubicBezTo>
                <a:cubicBezTo>
                  <a:pt x="1453" y="12430"/>
                  <a:pt x="1798" y="12354"/>
                  <a:pt x="1759" y="11971"/>
                </a:cubicBezTo>
                <a:cubicBezTo>
                  <a:pt x="2257" y="11971"/>
                  <a:pt x="2180" y="11589"/>
                  <a:pt x="2257" y="11283"/>
                </a:cubicBezTo>
                <a:cubicBezTo>
                  <a:pt x="2257" y="11206"/>
                  <a:pt x="2333" y="11053"/>
                  <a:pt x="2409" y="11015"/>
                </a:cubicBezTo>
                <a:cubicBezTo>
                  <a:pt x="2945" y="10824"/>
                  <a:pt x="2983" y="10288"/>
                  <a:pt x="3213" y="9868"/>
                </a:cubicBezTo>
                <a:cubicBezTo>
                  <a:pt x="3272" y="9720"/>
                  <a:pt x="3308" y="9550"/>
                  <a:pt x="3462" y="9550"/>
                </a:cubicBezTo>
                <a:cubicBezTo>
                  <a:pt x="3507" y="9550"/>
                  <a:pt x="3563" y="9565"/>
                  <a:pt x="3633" y="9600"/>
                </a:cubicBezTo>
                <a:cubicBezTo>
                  <a:pt x="3641" y="9607"/>
                  <a:pt x="3651" y="9610"/>
                  <a:pt x="3662" y="9610"/>
                </a:cubicBezTo>
                <a:cubicBezTo>
                  <a:pt x="3711" y="9610"/>
                  <a:pt x="3786" y="9554"/>
                  <a:pt x="3786" y="9523"/>
                </a:cubicBezTo>
                <a:cubicBezTo>
                  <a:pt x="3901" y="9026"/>
                  <a:pt x="4437" y="8873"/>
                  <a:pt x="4704" y="8491"/>
                </a:cubicBezTo>
                <a:cubicBezTo>
                  <a:pt x="4934" y="8108"/>
                  <a:pt x="5431" y="7841"/>
                  <a:pt x="5775" y="7496"/>
                </a:cubicBezTo>
                <a:cubicBezTo>
                  <a:pt x="5928" y="7305"/>
                  <a:pt x="6234" y="7420"/>
                  <a:pt x="6349" y="7152"/>
                </a:cubicBezTo>
                <a:cubicBezTo>
                  <a:pt x="6425" y="6885"/>
                  <a:pt x="6693" y="6808"/>
                  <a:pt x="6846" y="6617"/>
                </a:cubicBezTo>
                <a:cubicBezTo>
                  <a:pt x="7305" y="6081"/>
                  <a:pt x="7879" y="5699"/>
                  <a:pt x="8414" y="5278"/>
                </a:cubicBezTo>
                <a:cubicBezTo>
                  <a:pt x="8758" y="4972"/>
                  <a:pt x="9256" y="4857"/>
                  <a:pt x="9638" y="4590"/>
                </a:cubicBezTo>
                <a:cubicBezTo>
                  <a:pt x="10479" y="3978"/>
                  <a:pt x="11436" y="3481"/>
                  <a:pt x="12392" y="3060"/>
                </a:cubicBezTo>
                <a:cubicBezTo>
                  <a:pt x="13386" y="2601"/>
                  <a:pt x="14457" y="2104"/>
                  <a:pt x="15604" y="2104"/>
                </a:cubicBezTo>
                <a:cubicBezTo>
                  <a:pt x="16102" y="1798"/>
                  <a:pt x="16713" y="1913"/>
                  <a:pt x="17211" y="1721"/>
                </a:cubicBezTo>
                <a:cubicBezTo>
                  <a:pt x="17823" y="1530"/>
                  <a:pt x="18473" y="1492"/>
                  <a:pt x="19046" y="1224"/>
                </a:cubicBezTo>
                <a:cubicBezTo>
                  <a:pt x="19176" y="1251"/>
                  <a:pt x="19305" y="1262"/>
                  <a:pt x="19434" y="1262"/>
                </a:cubicBezTo>
                <a:cubicBezTo>
                  <a:pt x="20014" y="1262"/>
                  <a:pt x="20593" y="1040"/>
                  <a:pt x="21173" y="1040"/>
                </a:cubicBezTo>
                <a:cubicBezTo>
                  <a:pt x="21382" y="1040"/>
                  <a:pt x="21591" y="1069"/>
                  <a:pt x="21800" y="1148"/>
                </a:cubicBezTo>
                <a:cubicBezTo>
                  <a:pt x="21901" y="1111"/>
                  <a:pt x="22000" y="1096"/>
                  <a:pt x="22098" y="1096"/>
                </a:cubicBezTo>
                <a:cubicBezTo>
                  <a:pt x="22407" y="1096"/>
                  <a:pt x="22705" y="1242"/>
                  <a:pt x="23024" y="1301"/>
                </a:cubicBezTo>
                <a:cubicBezTo>
                  <a:pt x="23101" y="1308"/>
                  <a:pt x="23177" y="1311"/>
                  <a:pt x="23254" y="1311"/>
                </a:cubicBezTo>
                <a:cubicBezTo>
                  <a:pt x="23560" y="1311"/>
                  <a:pt x="23865" y="1262"/>
                  <a:pt x="24171" y="1262"/>
                </a:cubicBezTo>
                <a:cubicBezTo>
                  <a:pt x="24477" y="1301"/>
                  <a:pt x="24783" y="1415"/>
                  <a:pt x="25089" y="1492"/>
                </a:cubicBezTo>
                <a:cubicBezTo>
                  <a:pt x="25215" y="1567"/>
                  <a:pt x="25340" y="1642"/>
                  <a:pt x="25476" y="1642"/>
                </a:cubicBezTo>
                <a:cubicBezTo>
                  <a:pt x="25547" y="1642"/>
                  <a:pt x="25622" y="1621"/>
                  <a:pt x="25701" y="1568"/>
                </a:cubicBezTo>
                <a:cubicBezTo>
                  <a:pt x="25714" y="1556"/>
                  <a:pt x="25735" y="1551"/>
                  <a:pt x="25759" y="1551"/>
                </a:cubicBezTo>
                <a:cubicBezTo>
                  <a:pt x="25808" y="1551"/>
                  <a:pt x="25867" y="1568"/>
                  <a:pt x="25893" y="1568"/>
                </a:cubicBezTo>
                <a:cubicBezTo>
                  <a:pt x="26390" y="1989"/>
                  <a:pt x="27002" y="1836"/>
                  <a:pt x="27499" y="1989"/>
                </a:cubicBezTo>
                <a:cubicBezTo>
                  <a:pt x="28073" y="2180"/>
                  <a:pt x="28608" y="2410"/>
                  <a:pt x="29143" y="2486"/>
                </a:cubicBezTo>
                <a:cubicBezTo>
                  <a:pt x="29526" y="2563"/>
                  <a:pt x="29794" y="2754"/>
                  <a:pt x="30061" y="2869"/>
                </a:cubicBezTo>
                <a:cubicBezTo>
                  <a:pt x="30444" y="3022"/>
                  <a:pt x="30903" y="3060"/>
                  <a:pt x="31323" y="3213"/>
                </a:cubicBezTo>
                <a:cubicBezTo>
                  <a:pt x="31553" y="3289"/>
                  <a:pt x="31782" y="3366"/>
                  <a:pt x="31974" y="3519"/>
                </a:cubicBezTo>
                <a:cubicBezTo>
                  <a:pt x="32165" y="3678"/>
                  <a:pt x="32330" y="3891"/>
                  <a:pt x="32623" y="3891"/>
                </a:cubicBezTo>
                <a:cubicBezTo>
                  <a:pt x="32681" y="3891"/>
                  <a:pt x="32745" y="3882"/>
                  <a:pt x="32815" y="3863"/>
                </a:cubicBezTo>
                <a:cubicBezTo>
                  <a:pt x="32820" y="3861"/>
                  <a:pt x="32825" y="3859"/>
                  <a:pt x="32831" y="3859"/>
                </a:cubicBezTo>
                <a:cubicBezTo>
                  <a:pt x="32907" y="3859"/>
                  <a:pt x="33016" y="4098"/>
                  <a:pt x="33159" y="4169"/>
                </a:cubicBezTo>
                <a:cubicBezTo>
                  <a:pt x="33389" y="4284"/>
                  <a:pt x="33809" y="4322"/>
                  <a:pt x="33848" y="4475"/>
                </a:cubicBezTo>
                <a:cubicBezTo>
                  <a:pt x="33924" y="4819"/>
                  <a:pt x="34230" y="4628"/>
                  <a:pt x="34345" y="4781"/>
                </a:cubicBezTo>
                <a:cubicBezTo>
                  <a:pt x="34498" y="5049"/>
                  <a:pt x="34766" y="4972"/>
                  <a:pt x="34995" y="5049"/>
                </a:cubicBezTo>
                <a:cubicBezTo>
                  <a:pt x="35110" y="5087"/>
                  <a:pt x="35225" y="5163"/>
                  <a:pt x="35339" y="5240"/>
                </a:cubicBezTo>
                <a:cubicBezTo>
                  <a:pt x="35607" y="5469"/>
                  <a:pt x="35875" y="5699"/>
                  <a:pt x="36181" y="5928"/>
                </a:cubicBezTo>
                <a:cubicBezTo>
                  <a:pt x="36487" y="6158"/>
                  <a:pt x="36793" y="6349"/>
                  <a:pt x="37099" y="6579"/>
                </a:cubicBezTo>
                <a:cubicBezTo>
                  <a:pt x="37787" y="7076"/>
                  <a:pt x="38284" y="7688"/>
                  <a:pt x="38858" y="8300"/>
                </a:cubicBezTo>
                <a:cubicBezTo>
                  <a:pt x="39164" y="8606"/>
                  <a:pt x="39393" y="8950"/>
                  <a:pt x="39661" y="9256"/>
                </a:cubicBezTo>
                <a:cubicBezTo>
                  <a:pt x="39967" y="9562"/>
                  <a:pt x="40311" y="9868"/>
                  <a:pt x="40541" y="10212"/>
                </a:cubicBezTo>
                <a:cubicBezTo>
                  <a:pt x="41038" y="10900"/>
                  <a:pt x="41497" y="11589"/>
                  <a:pt x="42185" y="12162"/>
                </a:cubicBezTo>
                <a:cubicBezTo>
                  <a:pt x="42300" y="12239"/>
                  <a:pt x="42224" y="12583"/>
                  <a:pt x="42338" y="12660"/>
                </a:cubicBezTo>
                <a:cubicBezTo>
                  <a:pt x="42874" y="13080"/>
                  <a:pt x="42721" y="13807"/>
                  <a:pt x="43256" y="14266"/>
                </a:cubicBezTo>
                <a:cubicBezTo>
                  <a:pt x="43524" y="14495"/>
                  <a:pt x="43639" y="14993"/>
                  <a:pt x="43792" y="15375"/>
                </a:cubicBezTo>
                <a:cubicBezTo>
                  <a:pt x="43906" y="15643"/>
                  <a:pt x="43868" y="15987"/>
                  <a:pt x="44212" y="16140"/>
                </a:cubicBezTo>
                <a:cubicBezTo>
                  <a:pt x="44251" y="16140"/>
                  <a:pt x="44289" y="16217"/>
                  <a:pt x="44289" y="16255"/>
                </a:cubicBezTo>
                <a:cubicBezTo>
                  <a:pt x="44365" y="17096"/>
                  <a:pt x="44901" y="17785"/>
                  <a:pt x="45130" y="18550"/>
                </a:cubicBezTo>
                <a:cubicBezTo>
                  <a:pt x="45207" y="18894"/>
                  <a:pt x="45207" y="19276"/>
                  <a:pt x="45398" y="19506"/>
                </a:cubicBezTo>
                <a:cubicBezTo>
                  <a:pt x="45627" y="19773"/>
                  <a:pt x="45589" y="19926"/>
                  <a:pt x="45589" y="20194"/>
                </a:cubicBezTo>
                <a:cubicBezTo>
                  <a:pt x="45589" y="20653"/>
                  <a:pt x="45780" y="21112"/>
                  <a:pt x="45857" y="21609"/>
                </a:cubicBezTo>
                <a:cubicBezTo>
                  <a:pt x="45895" y="21839"/>
                  <a:pt x="45895" y="22068"/>
                  <a:pt x="45933" y="22336"/>
                </a:cubicBezTo>
                <a:cubicBezTo>
                  <a:pt x="45933" y="22489"/>
                  <a:pt x="45895" y="22718"/>
                  <a:pt x="45972" y="22833"/>
                </a:cubicBezTo>
                <a:cubicBezTo>
                  <a:pt x="46163" y="23139"/>
                  <a:pt x="46010" y="23407"/>
                  <a:pt x="45972" y="23636"/>
                </a:cubicBezTo>
                <a:cubicBezTo>
                  <a:pt x="45895" y="24133"/>
                  <a:pt x="45895" y="24516"/>
                  <a:pt x="46086" y="24975"/>
                </a:cubicBezTo>
                <a:cubicBezTo>
                  <a:pt x="46239" y="25319"/>
                  <a:pt x="46125" y="25778"/>
                  <a:pt x="46125" y="26161"/>
                </a:cubicBezTo>
                <a:cubicBezTo>
                  <a:pt x="46125" y="26734"/>
                  <a:pt x="45857" y="27270"/>
                  <a:pt x="46048" y="27843"/>
                </a:cubicBezTo>
                <a:cubicBezTo>
                  <a:pt x="46125" y="27996"/>
                  <a:pt x="46048" y="28341"/>
                  <a:pt x="45972" y="28570"/>
                </a:cubicBezTo>
                <a:cubicBezTo>
                  <a:pt x="45704" y="29220"/>
                  <a:pt x="45704" y="29870"/>
                  <a:pt x="45742" y="30521"/>
                </a:cubicBezTo>
                <a:cubicBezTo>
                  <a:pt x="45742" y="30712"/>
                  <a:pt x="45627" y="30941"/>
                  <a:pt x="45551" y="31132"/>
                </a:cubicBezTo>
                <a:cubicBezTo>
                  <a:pt x="45360" y="31591"/>
                  <a:pt x="45513" y="32127"/>
                  <a:pt x="45398" y="32624"/>
                </a:cubicBezTo>
                <a:cubicBezTo>
                  <a:pt x="45360" y="32815"/>
                  <a:pt x="45398" y="32930"/>
                  <a:pt x="45168" y="33083"/>
                </a:cubicBezTo>
                <a:cubicBezTo>
                  <a:pt x="45016" y="33198"/>
                  <a:pt x="44901" y="33580"/>
                  <a:pt x="44977" y="33771"/>
                </a:cubicBezTo>
                <a:cubicBezTo>
                  <a:pt x="45130" y="34192"/>
                  <a:pt x="44939" y="34536"/>
                  <a:pt x="44824" y="34881"/>
                </a:cubicBezTo>
                <a:cubicBezTo>
                  <a:pt x="44633" y="35493"/>
                  <a:pt x="44327" y="36066"/>
                  <a:pt x="44098" y="36678"/>
                </a:cubicBezTo>
                <a:cubicBezTo>
                  <a:pt x="43983" y="36908"/>
                  <a:pt x="44021" y="37252"/>
                  <a:pt x="43868" y="37367"/>
                </a:cubicBezTo>
                <a:cubicBezTo>
                  <a:pt x="43562" y="37520"/>
                  <a:pt x="43600" y="37787"/>
                  <a:pt x="43486" y="38017"/>
                </a:cubicBezTo>
                <a:cubicBezTo>
                  <a:pt x="43371" y="38246"/>
                  <a:pt x="43256" y="38437"/>
                  <a:pt x="43141" y="38667"/>
                </a:cubicBezTo>
                <a:cubicBezTo>
                  <a:pt x="42797" y="39508"/>
                  <a:pt x="42377" y="40235"/>
                  <a:pt x="41918" y="41000"/>
                </a:cubicBezTo>
                <a:cubicBezTo>
                  <a:pt x="41612" y="41574"/>
                  <a:pt x="41191" y="42071"/>
                  <a:pt x="40847" y="42645"/>
                </a:cubicBezTo>
                <a:cubicBezTo>
                  <a:pt x="40617" y="42989"/>
                  <a:pt x="40235" y="43256"/>
                  <a:pt x="39929" y="43562"/>
                </a:cubicBezTo>
                <a:cubicBezTo>
                  <a:pt x="39240" y="44213"/>
                  <a:pt x="38590" y="44863"/>
                  <a:pt x="37825" y="45360"/>
                </a:cubicBezTo>
                <a:cubicBezTo>
                  <a:pt x="37672" y="45437"/>
                  <a:pt x="37634" y="45666"/>
                  <a:pt x="37519" y="45781"/>
                </a:cubicBezTo>
                <a:cubicBezTo>
                  <a:pt x="37213" y="46048"/>
                  <a:pt x="36907" y="46278"/>
                  <a:pt x="36563" y="46546"/>
                </a:cubicBezTo>
                <a:cubicBezTo>
                  <a:pt x="36334" y="46699"/>
                  <a:pt x="36066" y="46852"/>
                  <a:pt x="35913" y="47119"/>
                </a:cubicBezTo>
                <a:cubicBezTo>
                  <a:pt x="35784" y="47312"/>
                  <a:pt x="35629" y="47613"/>
                  <a:pt x="35332" y="47613"/>
                </a:cubicBezTo>
                <a:cubicBezTo>
                  <a:pt x="35276" y="47613"/>
                  <a:pt x="35215" y="47603"/>
                  <a:pt x="35148" y="47578"/>
                </a:cubicBezTo>
                <a:cubicBezTo>
                  <a:pt x="35072" y="47578"/>
                  <a:pt x="34957" y="47617"/>
                  <a:pt x="34957" y="47693"/>
                </a:cubicBezTo>
                <a:cubicBezTo>
                  <a:pt x="34842" y="48037"/>
                  <a:pt x="34536" y="48114"/>
                  <a:pt x="34192" y="48152"/>
                </a:cubicBezTo>
                <a:cubicBezTo>
                  <a:pt x="34001" y="48190"/>
                  <a:pt x="33848" y="48420"/>
                  <a:pt x="33656" y="48458"/>
                </a:cubicBezTo>
                <a:cubicBezTo>
                  <a:pt x="33350" y="48573"/>
                  <a:pt x="32968" y="48534"/>
                  <a:pt x="32739" y="48879"/>
                </a:cubicBezTo>
                <a:cubicBezTo>
                  <a:pt x="32712" y="48906"/>
                  <a:pt x="32646" y="48933"/>
                  <a:pt x="32583" y="48933"/>
                </a:cubicBezTo>
                <a:cubicBezTo>
                  <a:pt x="32557" y="48933"/>
                  <a:pt x="32531" y="48928"/>
                  <a:pt x="32509" y="48917"/>
                </a:cubicBezTo>
                <a:cubicBezTo>
                  <a:pt x="32432" y="48878"/>
                  <a:pt x="32359" y="48862"/>
                  <a:pt x="32289" y="48862"/>
                </a:cubicBezTo>
                <a:cubicBezTo>
                  <a:pt x="31969" y="48862"/>
                  <a:pt x="31709" y="49192"/>
                  <a:pt x="31371" y="49192"/>
                </a:cubicBezTo>
                <a:cubicBezTo>
                  <a:pt x="31343" y="49192"/>
                  <a:pt x="31314" y="49189"/>
                  <a:pt x="31285" y="49185"/>
                </a:cubicBezTo>
                <a:cubicBezTo>
                  <a:pt x="31056" y="49644"/>
                  <a:pt x="30597" y="49529"/>
                  <a:pt x="30253" y="49605"/>
                </a:cubicBezTo>
                <a:cubicBezTo>
                  <a:pt x="29832" y="49720"/>
                  <a:pt x="29373" y="49758"/>
                  <a:pt x="28990" y="50026"/>
                </a:cubicBezTo>
                <a:cubicBezTo>
                  <a:pt x="28952" y="50064"/>
                  <a:pt x="28914" y="50103"/>
                  <a:pt x="28876" y="50103"/>
                </a:cubicBezTo>
                <a:cubicBezTo>
                  <a:pt x="28734" y="50103"/>
                  <a:pt x="28613" y="49893"/>
                  <a:pt x="28514" y="49893"/>
                </a:cubicBezTo>
                <a:cubicBezTo>
                  <a:pt x="28479" y="49893"/>
                  <a:pt x="28447" y="49918"/>
                  <a:pt x="28417" y="49988"/>
                </a:cubicBezTo>
                <a:cubicBezTo>
                  <a:pt x="28363" y="50131"/>
                  <a:pt x="28301" y="50165"/>
                  <a:pt x="28235" y="50165"/>
                </a:cubicBezTo>
                <a:cubicBezTo>
                  <a:pt x="28173" y="50165"/>
                  <a:pt x="28108" y="50135"/>
                  <a:pt x="28041" y="50135"/>
                </a:cubicBezTo>
                <a:cubicBezTo>
                  <a:pt x="28026" y="50135"/>
                  <a:pt x="28011" y="50137"/>
                  <a:pt x="27996" y="50141"/>
                </a:cubicBezTo>
                <a:cubicBezTo>
                  <a:pt x="27690" y="50217"/>
                  <a:pt x="27308" y="50103"/>
                  <a:pt x="27078" y="50485"/>
                </a:cubicBezTo>
                <a:cubicBezTo>
                  <a:pt x="27040" y="50561"/>
                  <a:pt x="26810" y="50600"/>
                  <a:pt x="26696" y="50600"/>
                </a:cubicBezTo>
                <a:cubicBezTo>
                  <a:pt x="26524" y="50581"/>
                  <a:pt x="26351" y="50533"/>
                  <a:pt x="26189" y="50533"/>
                </a:cubicBezTo>
                <a:cubicBezTo>
                  <a:pt x="26026" y="50533"/>
                  <a:pt x="25873" y="50581"/>
                  <a:pt x="25740" y="50753"/>
                </a:cubicBezTo>
                <a:cubicBezTo>
                  <a:pt x="25740" y="50772"/>
                  <a:pt x="25701" y="50781"/>
                  <a:pt x="25658" y="50781"/>
                </a:cubicBezTo>
                <a:cubicBezTo>
                  <a:pt x="25615" y="50781"/>
                  <a:pt x="25567" y="50772"/>
                  <a:pt x="25548" y="50753"/>
                </a:cubicBezTo>
                <a:cubicBezTo>
                  <a:pt x="25413" y="50634"/>
                  <a:pt x="25262" y="50598"/>
                  <a:pt x="25110" y="50598"/>
                </a:cubicBezTo>
                <a:cubicBezTo>
                  <a:pt x="24918" y="50598"/>
                  <a:pt x="24724" y="50655"/>
                  <a:pt x="24554" y="50676"/>
                </a:cubicBezTo>
                <a:cubicBezTo>
                  <a:pt x="24404" y="50696"/>
                  <a:pt x="24254" y="50703"/>
                  <a:pt x="24104" y="50703"/>
                </a:cubicBezTo>
                <a:cubicBezTo>
                  <a:pt x="23766" y="50703"/>
                  <a:pt x="23429" y="50668"/>
                  <a:pt x="23092" y="50668"/>
                </a:cubicBezTo>
                <a:cubicBezTo>
                  <a:pt x="23005" y="50668"/>
                  <a:pt x="22919" y="50670"/>
                  <a:pt x="22833" y="50676"/>
                </a:cubicBezTo>
                <a:cubicBezTo>
                  <a:pt x="22503" y="50676"/>
                  <a:pt x="22174" y="50618"/>
                  <a:pt x="21835" y="50618"/>
                </a:cubicBezTo>
                <a:cubicBezTo>
                  <a:pt x="21624" y="50618"/>
                  <a:pt x="21409" y="50641"/>
                  <a:pt x="21188" y="50714"/>
                </a:cubicBezTo>
                <a:cubicBezTo>
                  <a:pt x="20423" y="50370"/>
                  <a:pt x="19582" y="50561"/>
                  <a:pt x="18779" y="50447"/>
                </a:cubicBezTo>
                <a:cubicBezTo>
                  <a:pt x="18435" y="50409"/>
                  <a:pt x="18090" y="50217"/>
                  <a:pt x="17746" y="50179"/>
                </a:cubicBezTo>
                <a:cubicBezTo>
                  <a:pt x="17325" y="50179"/>
                  <a:pt x="16905" y="50179"/>
                  <a:pt x="16484" y="50103"/>
                </a:cubicBezTo>
                <a:cubicBezTo>
                  <a:pt x="16063" y="50064"/>
                  <a:pt x="15566" y="50026"/>
                  <a:pt x="15222" y="49835"/>
                </a:cubicBezTo>
                <a:cubicBezTo>
                  <a:pt x="14686" y="49491"/>
                  <a:pt x="14036" y="49529"/>
                  <a:pt x="13539" y="49185"/>
                </a:cubicBezTo>
                <a:cubicBezTo>
                  <a:pt x="12698" y="48687"/>
                  <a:pt x="11780" y="48305"/>
                  <a:pt x="10938" y="47808"/>
                </a:cubicBezTo>
                <a:cubicBezTo>
                  <a:pt x="10059" y="47311"/>
                  <a:pt x="9179" y="46775"/>
                  <a:pt x="8338" y="46240"/>
                </a:cubicBezTo>
                <a:cubicBezTo>
                  <a:pt x="8146" y="46125"/>
                  <a:pt x="7764" y="46087"/>
                  <a:pt x="7764" y="46010"/>
                </a:cubicBezTo>
                <a:cubicBezTo>
                  <a:pt x="7726" y="45666"/>
                  <a:pt x="7458" y="45819"/>
                  <a:pt x="7343" y="45704"/>
                </a:cubicBezTo>
                <a:cubicBezTo>
                  <a:pt x="6502" y="44939"/>
                  <a:pt x="5393" y="44404"/>
                  <a:pt x="4819" y="43333"/>
                </a:cubicBezTo>
                <a:cubicBezTo>
                  <a:pt x="4781" y="43256"/>
                  <a:pt x="4743" y="43218"/>
                  <a:pt x="4704" y="43142"/>
                </a:cubicBezTo>
                <a:cubicBezTo>
                  <a:pt x="4590" y="42912"/>
                  <a:pt x="4131" y="43027"/>
                  <a:pt x="4092" y="42606"/>
                </a:cubicBezTo>
                <a:cubicBezTo>
                  <a:pt x="4092" y="42415"/>
                  <a:pt x="3748" y="42224"/>
                  <a:pt x="3595" y="42033"/>
                </a:cubicBezTo>
                <a:cubicBezTo>
                  <a:pt x="3404" y="41803"/>
                  <a:pt x="3213" y="41574"/>
                  <a:pt x="3060" y="41306"/>
                </a:cubicBezTo>
                <a:cubicBezTo>
                  <a:pt x="2830" y="40923"/>
                  <a:pt x="2639" y="40541"/>
                  <a:pt x="2409" y="40159"/>
                </a:cubicBezTo>
                <a:cubicBezTo>
                  <a:pt x="2371" y="40082"/>
                  <a:pt x="2257" y="40006"/>
                  <a:pt x="2218" y="39891"/>
                </a:cubicBezTo>
                <a:cubicBezTo>
                  <a:pt x="2104" y="39776"/>
                  <a:pt x="1989" y="39661"/>
                  <a:pt x="1989" y="39508"/>
                </a:cubicBezTo>
                <a:cubicBezTo>
                  <a:pt x="1989" y="39202"/>
                  <a:pt x="1759" y="39049"/>
                  <a:pt x="1568" y="38858"/>
                </a:cubicBezTo>
                <a:cubicBezTo>
                  <a:pt x="1377" y="38705"/>
                  <a:pt x="1147" y="38514"/>
                  <a:pt x="1147" y="38323"/>
                </a:cubicBezTo>
                <a:cubicBezTo>
                  <a:pt x="1109" y="37902"/>
                  <a:pt x="650" y="37634"/>
                  <a:pt x="688" y="37175"/>
                </a:cubicBezTo>
                <a:cubicBezTo>
                  <a:pt x="688" y="37061"/>
                  <a:pt x="459" y="36908"/>
                  <a:pt x="268" y="36755"/>
                </a:cubicBezTo>
                <a:cubicBezTo>
                  <a:pt x="344" y="36334"/>
                  <a:pt x="153" y="35990"/>
                  <a:pt x="0" y="35646"/>
                </a:cubicBezTo>
                <a:lnTo>
                  <a:pt x="0" y="38399"/>
                </a:lnTo>
                <a:cubicBezTo>
                  <a:pt x="76" y="38437"/>
                  <a:pt x="115" y="38476"/>
                  <a:pt x="191" y="38552"/>
                </a:cubicBezTo>
                <a:cubicBezTo>
                  <a:pt x="306" y="38667"/>
                  <a:pt x="344" y="38858"/>
                  <a:pt x="459" y="39011"/>
                </a:cubicBezTo>
                <a:cubicBezTo>
                  <a:pt x="535" y="39241"/>
                  <a:pt x="612" y="39470"/>
                  <a:pt x="765" y="39661"/>
                </a:cubicBezTo>
                <a:cubicBezTo>
                  <a:pt x="994" y="40082"/>
                  <a:pt x="1300" y="40503"/>
                  <a:pt x="1568" y="40923"/>
                </a:cubicBezTo>
                <a:cubicBezTo>
                  <a:pt x="1798" y="41306"/>
                  <a:pt x="2218" y="41574"/>
                  <a:pt x="2218" y="42071"/>
                </a:cubicBezTo>
                <a:cubicBezTo>
                  <a:pt x="2830" y="42836"/>
                  <a:pt x="3442" y="43562"/>
                  <a:pt x="4054" y="44327"/>
                </a:cubicBezTo>
                <a:cubicBezTo>
                  <a:pt x="4360" y="44672"/>
                  <a:pt x="4704" y="45016"/>
                  <a:pt x="5048" y="45322"/>
                </a:cubicBezTo>
                <a:cubicBezTo>
                  <a:pt x="5316" y="45551"/>
                  <a:pt x="5622" y="45742"/>
                  <a:pt x="5890" y="45934"/>
                </a:cubicBezTo>
                <a:cubicBezTo>
                  <a:pt x="6502" y="46393"/>
                  <a:pt x="7190" y="46813"/>
                  <a:pt x="7764" y="47311"/>
                </a:cubicBezTo>
                <a:cubicBezTo>
                  <a:pt x="7955" y="47502"/>
                  <a:pt x="8223" y="47464"/>
                  <a:pt x="8299" y="47617"/>
                </a:cubicBezTo>
                <a:cubicBezTo>
                  <a:pt x="8414" y="47884"/>
                  <a:pt x="8605" y="47884"/>
                  <a:pt x="8797" y="47999"/>
                </a:cubicBezTo>
                <a:cubicBezTo>
                  <a:pt x="9103" y="48190"/>
                  <a:pt x="9409" y="48534"/>
                  <a:pt x="9753" y="48534"/>
                </a:cubicBezTo>
                <a:cubicBezTo>
                  <a:pt x="10212" y="48573"/>
                  <a:pt x="10441" y="48879"/>
                  <a:pt x="10785" y="49070"/>
                </a:cubicBezTo>
                <a:cubicBezTo>
                  <a:pt x="10938" y="49146"/>
                  <a:pt x="11168" y="49146"/>
                  <a:pt x="11359" y="49185"/>
                </a:cubicBezTo>
                <a:cubicBezTo>
                  <a:pt x="11397" y="49185"/>
                  <a:pt x="11436" y="49223"/>
                  <a:pt x="11474" y="49261"/>
                </a:cubicBezTo>
                <a:cubicBezTo>
                  <a:pt x="11512" y="49376"/>
                  <a:pt x="11550" y="49491"/>
                  <a:pt x="11589" y="49567"/>
                </a:cubicBezTo>
                <a:cubicBezTo>
                  <a:pt x="11684" y="49567"/>
                  <a:pt x="11789" y="49558"/>
                  <a:pt x="11885" y="49558"/>
                </a:cubicBezTo>
                <a:cubicBezTo>
                  <a:pt x="11981" y="49558"/>
                  <a:pt x="12067" y="49567"/>
                  <a:pt x="12124" y="49605"/>
                </a:cubicBezTo>
                <a:cubicBezTo>
                  <a:pt x="12659" y="49950"/>
                  <a:pt x="12774" y="50026"/>
                  <a:pt x="13577" y="50103"/>
                </a:cubicBezTo>
                <a:cubicBezTo>
                  <a:pt x="13807" y="50409"/>
                  <a:pt x="14342" y="50103"/>
                  <a:pt x="14495" y="50600"/>
                </a:cubicBezTo>
                <a:cubicBezTo>
                  <a:pt x="15102" y="50743"/>
                  <a:pt x="15576" y="51219"/>
                  <a:pt x="16259" y="51219"/>
                </a:cubicBezTo>
                <a:cubicBezTo>
                  <a:pt x="16308" y="51219"/>
                  <a:pt x="16357" y="51217"/>
                  <a:pt x="16408" y="51212"/>
                </a:cubicBezTo>
                <a:cubicBezTo>
                  <a:pt x="16489" y="51200"/>
                  <a:pt x="16573" y="51195"/>
                  <a:pt x="16658" y="51195"/>
                </a:cubicBezTo>
                <a:cubicBezTo>
                  <a:pt x="17128" y="51195"/>
                  <a:pt x="17637" y="51361"/>
                  <a:pt x="18090" y="51556"/>
                </a:cubicBezTo>
                <a:cubicBezTo>
                  <a:pt x="18220" y="51614"/>
                  <a:pt x="18339" y="51633"/>
                  <a:pt x="18455" y="51633"/>
                </a:cubicBezTo>
                <a:cubicBezTo>
                  <a:pt x="18647" y="51633"/>
                  <a:pt x="18832" y="51580"/>
                  <a:pt x="19046" y="51556"/>
                </a:cubicBezTo>
                <a:cubicBezTo>
                  <a:pt x="19060" y="51554"/>
                  <a:pt x="19073" y="51553"/>
                  <a:pt x="19086" y="51553"/>
                </a:cubicBezTo>
                <a:cubicBezTo>
                  <a:pt x="19326" y="51553"/>
                  <a:pt x="19523" y="51819"/>
                  <a:pt x="19774" y="51819"/>
                </a:cubicBezTo>
                <a:cubicBezTo>
                  <a:pt x="19822" y="51819"/>
                  <a:pt x="19873" y="51809"/>
                  <a:pt x="19926" y="51785"/>
                </a:cubicBezTo>
                <a:cubicBezTo>
                  <a:pt x="20003" y="51785"/>
                  <a:pt x="20041" y="51709"/>
                  <a:pt x="20079" y="51709"/>
                </a:cubicBezTo>
                <a:cubicBezTo>
                  <a:pt x="20309" y="51709"/>
                  <a:pt x="20560" y="51644"/>
                  <a:pt x="20800" y="51644"/>
                </a:cubicBezTo>
                <a:cubicBezTo>
                  <a:pt x="20880" y="51644"/>
                  <a:pt x="20959" y="51651"/>
                  <a:pt x="21035" y="51671"/>
                </a:cubicBezTo>
                <a:cubicBezTo>
                  <a:pt x="21219" y="51739"/>
                  <a:pt x="21402" y="51836"/>
                  <a:pt x="21586" y="51836"/>
                </a:cubicBezTo>
                <a:cubicBezTo>
                  <a:pt x="21708" y="51836"/>
                  <a:pt x="21831" y="51793"/>
                  <a:pt x="21953" y="51671"/>
                </a:cubicBezTo>
                <a:cubicBezTo>
                  <a:pt x="21972" y="51651"/>
                  <a:pt x="22011" y="51642"/>
                  <a:pt x="22049" y="51642"/>
                </a:cubicBezTo>
                <a:cubicBezTo>
                  <a:pt x="22087" y="51642"/>
                  <a:pt x="22125" y="51651"/>
                  <a:pt x="22144" y="51671"/>
                </a:cubicBezTo>
                <a:cubicBezTo>
                  <a:pt x="22375" y="51809"/>
                  <a:pt x="22600" y="51861"/>
                  <a:pt x="22821" y="51861"/>
                </a:cubicBezTo>
                <a:cubicBezTo>
                  <a:pt x="23149" y="51861"/>
                  <a:pt x="23469" y="51747"/>
                  <a:pt x="23789" y="51632"/>
                </a:cubicBezTo>
                <a:cubicBezTo>
                  <a:pt x="24109" y="51690"/>
                  <a:pt x="24406" y="51837"/>
                  <a:pt x="24732" y="51837"/>
                </a:cubicBezTo>
                <a:cubicBezTo>
                  <a:pt x="24835" y="51837"/>
                  <a:pt x="24941" y="51822"/>
                  <a:pt x="25051" y="51785"/>
                </a:cubicBezTo>
                <a:cubicBezTo>
                  <a:pt x="25103" y="51760"/>
                  <a:pt x="25206" y="51596"/>
                  <a:pt x="25315" y="51596"/>
                </a:cubicBezTo>
                <a:cubicBezTo>
                  <a:pt x="25368" y="51596"/>
                  <a:pt x="25422" y="51634"/>
                  <a:pt x="25472" y="51747"/>
                </a:cubicBezTo>
                <a:cubicBezTo>
                  <a:pt x="25595" y="51673"/>
                  <a:pt x="25719" y="51631"/>
                  <a:pt x="25853" y="51631"/>
                </a:cubicBezTo>
                <a:cubicBezTo>
                  <a:pt x="25926" y="51631"/>
                  <a:pt x="26002" y="51644"/>
                  <a:pt x="26084" y="51671"/>
                </a:cubicBezTo>
                <a:cubicBezTo>
                  <a:pt x="26148" y="51696"/>
                  <a:pt x="26211" y="51705"/>
                  <a:pt x="26278" y="51705"/>
                </a:cubicBezTo>
                <a:cubicBezTo>
                  <a:pt x="26411" y="51705"/>
                  <a:pt x="26555" y="51671"/>
                  <a:pt x="26734" y="51671"/>
                </a:cubicBezTo>
                <a:cubicBezTo>
                  <a:pt x="26839" y="51636"/>
                  <a:pt x="26719" y="51279"/>
                  <a:pt x="26964" y="51279"/>
                </a:cubicBezTo>
                <a:cubicBezTo>
                  <a:pt x="26986" y="51279"/>
                  <a:pt x="27011" y="51282"/>
                  <a:pt x="27040" y="51288"/>
                </a:cubicBezTo>
                <a:cubicBezTo>
                  <a:pt x="27116" y="51288"/>
                  <a:pt x="27193" y="51518"/>
                  <a:pt x="27269" y="51632"/>
                </a:cubicBezTo>
                <a:cubicBezTo>
                  <a:pt x="27384" y="51556"/>
                  <a:pt x="27537" y="51403"/>
                  <a:pt x="27690" y="51403"/>
                </a:cubicBezTo>
                <a:cubicBezTo>
                  <a:pt x="28149" y="51365"/>
                  <a:pt x="28531" y="51135"/>
                  <a:pt x="28837" y="50791"/>
                </a:cubicBezTo>
                <a:cubicBezTo>
                  <a:pt x="29107" y="50899"/>
                  <a:pt x="29367" y="50954"/>
                  <a:pt x="29613" y="50954"/>
                </a:cubicBezTo>
                <a:cubicBezTo>
                  <a:pt x="30064" y="50954"/>
                  <a:pt x="30466" y="50767"/>
                  <a:pt x="30788" y="50370"/>
                </a:cubicBezTo>
                <a:cubicBezTo>
                  <a:pt x="30903" y="50485"/>
                  <a:pt x="31017" y="50600"/>
                  <a:pt x="31132" y="50600"/>
                </a:cubicBezTo>
                <a:cubicBezTo>
                  <a:pt x="31323" y="50561"/>
                  <a:pt x="31515" y="50523"/>
                  <a:pt x="31706" y="50294"/>
                </a:cubicBezTo>
                <a:cubicBezTo>
                  <a:pt x="31801" y="50151"/>
                  <a:pt x="31942" y="50037"/>
                  <a:pt x="32098" y="50037"/>
                </a:cubicBezTo>
                <a:cubicBezTo>
                  <a:pt x="32193" y="50037"/>
                  <a:pt x="32294" y="50078"/>
                  <a:pt x="32394" y="50179"/>
                </a:cubicBezTo>
                <a:cubicBezTo>
                  <a:pt x="32624" y="50064"/>
                  <a:pt x="32853" y="49911"/>
                  <a:pt x="33083" y="49873"/>
                </a:cubicBezTo>
                <a:cubicBezTo>
                  <a:pt x="33465" y="49797"/>
                  <a:pt x="33733" y="49682"/>
                  <a:pt x="33886" y="49185"/>
                </a:cubicBezTo>
                <a:cubicBezTo>
                  <a:pt x="34001" y="49338"/>
                  <a:pt x="34039" y="49376"/>
                  <a:pt x="34115" y="49491"/>
                </a:cubicBezTo>
                <a:cubicBezTo>
                  <a:pt x="34460" y="48993"/>
                  <a:pt x="35225" y="49032"/>
                  <a:pt x="35607" y="48496"/>
                </a:cubicBezTo>
                <a:cubicBezTo>
                  <a:pt x="35652" y="48511"/>
                  <a:pt x="35692" y="48518"/>
                  <a:pt x="35730" y="48518"/>
                </a:cubicBezTo>
                <a:cubicBezTo>
                  <a:pt x="35984" y="48518"/>
                  <a:pt x="36106" y="48224"/>
                  <a:pt x="36372" y="48190"/>
                </a:cubicBezTo>
                <a:cubicBezTo>
                  <a:pt x="36640" y="48152"/>
                  <a:pt x="36907" y="47808"/>
                  <a:pt x="37175" y="47617"/>
                </a:cubicBezTo>
                <a:cubicBezTo>
                  <a:pt x="37481" y="47349"/>
                  <a:pt x="37864" y="47158"/>
                  <a:pt x="38093" y="46813"/>
                </a:cubicBezTo>
                <a:cubicBezTo>
                  <a:pt x="38590" y="46163"/>
                  <a:pt x="39240" y="45704"/>
                  <a:pt x="39852" y="45207"/>
                </a:cubicBezTo>
                <a:cubicBezTo>
                  <a:pt x="40044" y="45054"/>
                  <a:pt x="40197" y="44901"/>
                  <a:pt x="40350" y="44710"/>
                </a:cubicBezTo>
                <a:cubicBezTo>
                  <a:pt x="40464" y="44557"/>
                  <a:pt x="40579" y="44404"/>
                  <a:pt x="40694" y="44251"/>
                </a:cubicBezTo>
                <a:cubicBezTo>
                  <a:pt x="41229" y="43715"/>
                  <a:pt x="41765" y="43218"/>
                  <a:pt x="42224" y="42645"/>
                </a:cubicBezTo>
                <a:cubicBezTo>
                  <a:pt x="42950" y="41803"/>
                  <a:pt x="43409" y="40809"/>
                  <a:pt x="44021" y="39853"/>
                </a:cubicBezTo>
                <a:cubicBezTo>
                  <a:pt x="44251" y="39470"/>
                  <a:pt x="44442" y="39088"/>
                  <a:pt x="44671" y="38667"/>
                </a:cubicBezTo>
                <a:cubicBezTo>
                  <a:pt x="44824" y="38285"/>
                  <a:pt x="44977" y="37902"/>
                  <a:pt x="45168" y="37520"/>
                </a:cubicBezTo>
                <a:cubicBezTo>
                  <a:pt x="45321" y="37252"/>
                  <a:pt x="45321" y="36946"/>
                  <a:pt x="45589" y="36716"/>
                </a:cubicBezTo>
                <a:cubicBezTo>
                  <a:pt x="45819" y="36525"/>
                  <a:pt x="45551" y="36143"/>
                  <a:pt x="45857" y="35952"/>
                </a:cubicBezTo>
                <a:cubicBezTo>
                  <a:pt x="45819" y="35569"/>
                  <a:pt x="46010" y="35263"/>
                  <a:pt x="46125" y="34919"/>
                </a:cubicBezTo>
                <a:cubicBezTo>
                  <a:pt x="46278" y="34575"/>
                  <a:pt x="46278" y="34154"/>
                  <a:pt x="46431" y="33810"/>
                </a:cubicBezTo>
                <a:cubicBezTo>
                  <a:pt x="46660" y="33198"/>
                  <a:pt x="46507" y="32509"/>
                  <a:pt x="46928" y="31974"/>
                </a:cubicBezTo>
                <a:cubicBezTo>
                  <a:pt x="46966" y="31936"/>
                  <a:pt x="46966" y="31859"/>
                  <a:pt x="46928" y="31821"/>
                </a:cubicBezTo>
                <a:cubicBezTo>
                  <a:pt x="46813" y="31247"/>
                  <a:pt x="47119" y="30674"/>
                  <a:pt x="47043" y="30100"/>
                </a:cubicBezTo>
                <a:cubicBezTo>
                  <a:pt x="46966" y="29335"/>
                  <a:pt x="47310" y="28685"/>
                  <a:pt x="47272" y="27920"/>
                </a:cubicBezTo>
                <a:cubicBezTo>
                  <a:pt x="47234" y="27231"/>
                  <a:pt x="47234" y="26505"/>
                  <a:pt x="47272" y="25778"/>
                </a:cubicBezTo>
                <a:cubicBezTo>
                  <a:pt x="47310" y="25281"/>
                  <a:pt x="47196" y="24784"/>
                  <a:pt x="47234" y="24286"/>
                </a:cubicBezTo>
                <a:cubicBezTo>
                  <a:pt x="47272" y="23751"/>
                  <a:pt x="47196" y="23216"/>
                  <a:pt x="47157" y="22680"/>
                </a:cubicBezTo>
                <a:cubicBezTo>
                  <a:pt x="47081" y="22183"/>
                  <a:pt x="46966" y="21686"/>
                  <a:pt x="46813" y="21189"/>
                </a:cubicBezTo>
                <a:cubicBezTo>
                  <a:pt x="46584" y="20577"/>
                  <a:pt x="46698" y="19812"/>
                  <a:pt x="46278" y="19238"/>
                </a:cubicBezTo>
                <a:cubicBezTo>
                  <a:pt x="46239" y="19200"/>
                  <a:pt x="46239" y="19085"/>
                  <a:pt x="46278" y="19009"/>
                </a:cubicBezTo>
                <a:cubicBezTo>
                  <a:pt x="46469" y="18703"/>
                  <a:pt x="46278" y="18473"/>
                  <a:pt x="46125" y="18282"/>
                </a:cubicBezTo>
                <a:cubicBezTo>
                  <a:pt x="45972" y="18129"/>
                  <a:pt x="46010" y="18052"/>
                  <a:pt x="46010" y="17899"/>
                </a:cubicBezTo>
                <a:cubicBezTo>
                  <a:pt x="46010" y="17746"/>
                  <a:pt x="45895" y="17593"/>
                  <a:pt x="45819" y="17440"/>
                </a:cubicBezTo>
                <a:cubicBezTo>
                  <a:pt x="45589" y="17020"/>
                  <a:pt x="45245" y="16599"/>
                  <a:pt x="45168" y="16102"/>
                </a:cubicBezTo>
                <a:cubicBezTo>
                  <a:pt x="45092" y="15681"/>
                  <a:pt x="44863" y="15337"/>
                  <a:pt x="44710" y="14954"/>
                </a:cubicBezTo>
                <a:cubicBezTo>
                  <a:pt x="44595" y="14725"/>
                  <a:pt x="44365" y="14495"/>
                  <a:pt x="44327" y="14228"/>
                </a:cubicBezTo>
                <a:cubicBezTo>
                  <a:pt x="44251" y="13654"/>
                  <a:pt x="43906" y="13233"/>
                  <a:pt x="43715" y="12698"/>
                </a:cubicBezTo>
                <a:cubicBezTo>
                  <a:pt x="43562" y="12315"/>
                  <a:pt x="43409" y="11895"/>
                  <a:pt x="43141" y="11589"/>
                </a:cubicBezTo>
                <a:cubicBezTo>
                  <a:pt x="42606" y="10939"/>
                  <a:pt x="42147" y="10212"/>
                  <a:pt x="41573" y="9562"/>
                </a:cubicBezTo>
                <a:cubicBezTo>
                  <a:pt x="41076" y="9026"/>
                  <a:pt x="40617" y="8453"/>
                  <a:pt x="40120" y="7917"/>
                </a:cubicBezTo>
                <a:cubicBezTo>
                  <a:pt x="40082" y="7879"/>
                  <a:pt x="40158" y="7726"/>
                  <a:pt x="40120" y="7726"/>
                </a:cubicBezTo>
                <a:cubicBezTo>
                  <a:pt x="39623" y="7458"/>
                  <a:pt x="39126" y="7190"/>
                  <a:pt x="39011" y="6579"/>
                </a:cubicBezTo>
                <a:cubicBezTo>
                  <a:pt x="38980" y="6579"/>
                  <a:pt x="38925" y="6530"/>
                  <a:pt x="38904" y="6530"/>
                </a:cubicBezTo>
                <a:cubicBezTo>
                  <a:pt x="38899" y="6530"/>
                  <a:pt x="38896" y="6533"/>
                  <a:pt x="38896" y="6540"/>
                </a:cubicBezTo>
                <a:cubicBezTo>
                  <a:pt x="38830" y="6559"/>
                  <a:pt x="38776" y="6568"/>
                  <a:pt x="38731" y="6568"/>
                </a:cubicBezTo>
                <a:cubicBezTo>
                  <a:pt x="38410" y="6568"/>
                  <a:pt x="38562" y="6139"/>
                  <a:pt x="38361" y="6005"/>
                </a:cubicBezTo>
                <a:cubicBezTo>
                  <a:pt x="38284" y="6081"/>
                  <a:pt x="38208" y="6120"/>
                  <a:pt x="38131" y="6196"/>
                </a:cubicBezTo>
                <a:cubicBezTo>
                  <a:pt x="37864" y="5890"/>
                  <a:pt x="37481" y="5661"/>
                  <a:pt x="37405" y="5316"/>
                </a:cubicBezTo>
                <a:cubicBezTo>
                  <a:pt x="37213" y="4781"/>
                  <a:pt x="36754" y="4934"/>
                  <a:pt x="36487" y="4704"/>
                </a:cubicBezTo>
                <a:cubicBezTo>
                  <a:pt x="36372" y="4628"/>
                  <a:pt x="36295" y="4475"/>
                  <a:pt x="36142" y="4399"/>
                </a:cubicBezTo>
                <a:cubicBezTo>
                  <a:pt x="35798" y="4246"/>
                  <a:pt x="35416" y="4016"/>
                  <a:pt x="35072" y="3748"/>
                </a:cubicBezTo>
                <a:cubicBezTo>
                  <a:pt x="34766" y="3519"/>
                  <a:pt x="34345" y="3328"/>
                  <a:pt x="33924" y="3136"/>
                </a:cubicBezTo>
                <a:cubicBezTo>
                  <a:pt x="33465" y="2983"/>
                  <a:pt x="33083" y="2563"/>
                  <a:pt x="32547" y="2563"/>
                </a:cubicBezTo>
                <a:cubicBezTo>
                  <a:pt x="32471" y="2563"/>
                  <a:pt x="32356" y="2486"/>
                  <a:pt x="32280" y="2448"/>
                </a:cubicBezTo>
                <a:cubicBezTo>
                  <a:pt x="31974" y="2257"/>
                  <a:pt x="31706" y="2066"/>
                  <a:pt x="31362" y="1951"/>
                </a:cubicBezTo>
                <a:cubicBezTo>
                  <a:pt x="30712" y="1760"/>
                  <a:pt x="30061" y="1530"/>
                  <a:pt x="29411" y="1262"/>
                </a:cubicBezTo>
                <a:cubicBezTo>
                  <a:pt x="29105" y="1148"/>
                  <a:pt x="28761" y="1224"/>
                  <a:pt x="28493" y="956"/>
                </a:cubicBezTo>
                <a:cubicBezTo>
                  <a:pt x="28480" y="943"/>
                  <a:pt x="28460" y="938"/>
                  <a:pt x="28435" y="938"/>
                </a:cubicBezTo>
                <a:cubicBezTo>
                  <a:pt x="28342" y="938"/>
                  <a:pt x="28181" y="1013"/>
                  <a:pt x="28070" y="1013"/>
                </a:cubicBezTo>
                <a:cubicBezTo>
                  <a:pt x="28041" y="1013"/>
                  <a:pt x="28016" y="1008"/>
                  <a:pt x="27996" y="995"/>
                </a:cubicBezTo>
                <a:cubicBezTo>
                  <a:pt x="27461" y="497"/>
                  <a:pt x="26772" y="689"/>
                  <a:pt x="26160" y="536"/>
                </a:cubicBezTo>
                <a:cubicBezTo>
                  <a:pt x="25089" y="268"/>
                  <a:pt x="23980" y="153"/>
                  <a:pt x="22871" y="153"/>
                </a:cubicBezTo>
                <a:cubicBezTo>
                  <a:pt x="22756" y="153"/>
                  <a:pt x="22642" y="38"/>
                  <a:pt x="22489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7" name="Google Shape;57;p15"/>
          <p:cNvSpPr/>
          <p:nvPr/>
        </p:nvSpPr>
        <p:spPr>
          <a:xfrm>
            <a:off x="550331" y="1879533"/>
            <a:ext cx="2501685" cy="2535224"/>
          </a:xfrm>
          <a:custGeom>
            <a:avLst/>
            <a:gdLst/>
            <a:ahLst/>
            <a:cxnLst/>
            <a:rect l="l" t="t" r="r" b="b"/>
            <a:pathLst>
              <a:path w="91447" h="92673" extrusionOk="0">
                <a:moveTo>
                  <a:pt x="43966" y="889"/>
                </a:moveTo>
                <a:cubicBezTo>
                  <a:pt x="44166" y="889"/>
                  <a:pt x="44362" y="950"/>
                  <a:pt x="44557" y="1110"/>
                </a:cubicBezTo>
                <a:cubicBezTo>
                  <a:pt x="44569" y="1121"/>
                  <a:pt x="44593" y="1126"/>
                  <a:pt x="44624" y="1126"/>
                </a:cubicBezTo>
                <a:cubicBezTo>
                  <a:pt x="44698" y="1126"/>
                  <a:pt x="44809" y="1098"/>
                  <a:pt x="44863" y="1071"/>
                </a:cubicBezTo>
                <a:cubicBezTo>
                  <a:pt x="45246" y="1003"/>
                  <a:pt x="45623" y="969"/>
                  <a:pt x="45998" y="969"/>
                </a:cubicBezTo>
                <a:cubicBezTo>
                  <a:pt x="46672" y="969"/>
                  <a:pt x="47336" y="1080"/>
                  <a:pt x="48000" y="1301"/>
                </a:cubicBezTo>
                <a:cubicBezTo>
                  <a:pt x="48335" y="1406"/>
                  <a:pt x="48659" y="1499"/>
                  <a:pt x="48984" y="1499"/>
                </a:cubicBezTo>
                <a:cubicBezTo>
                  <a:pt x="49252" y="1499"/>
                  <a:pt x="49521" y="1436"/>
                  <a:pt x="49797" y="1263"/>
                </a:cubicBezTo>
                <a:cubicBezTo>
                  <a:pt x="49946" y="1411"/>
                  <a:pt x="50071" y="1629"/>
                  <a:pt x="50299" y="1629"/>
                </a:cubicBezTo>
                <a:cubicBezTo>
                  <a:pt x="50365" y="1629"/>
                  <a:pt x="50439" y="1611"/>
                  <a:pt x="50524" y="1569"/>
                </a:cubicBezTo>
                <a:cubicBezTo>
                  <a:pt x="50584" y="1532"/>
                  <a:pt x="50653" y="1519"/>
                  <a:pt x="50726" y="1519"/>
                </a:cubicBezTo>
                <a:cubicBezTo>
                  <a:pt x="50885" y="1519"/>
                  <a:pt x="51068" y="1581"/>
                  <a:pt x="51250" y="1607"/>
                </a:cubicBezTo>
                <a:cubicBezTo>
                  <a:pt x="51442" y="1607"/>
                  <a:pt x="51633" y="1645"/>
                  <a:pt x="51824" y="1722"/>
                </a:cubicBezTo>
                <a:cubicBezTo>
                  <a:pt x="52360" y="1951"/>
                  <a:pt x="52933" y="1836"/>
                  <a:pt x="53469" y="1951"/>
                </a:cubicBezTo>
                <a:cubicBezTo>
                  <a:pt x="53492" y="1956"/>
                  <a:pt x="53516" y="1958"/>
                  <a:pt x="53539" y="1958"/>
                </a:cubicBezTo>
                <a:cubicBezTo>
                  <a:pt x="53619" y="1958"/>
                  <a:pt x="53699" y="1936"/>
                  <a:pt x="53775" y="1936"/>
                </a:cubicBezTo>
                <a:cubicBezTo>
                  <a:pt x="53857" y="1936"/>
                  <a:pt x="53934" y="1961"/>
                  <a:pt x="54004" y="2066"/>
                </a:cubicBezTo>
                <a:cubicBezTo>
                  <a:pt x="54054" y="2153"/>
                  <a:pt x="54108" y="2179"/>
                  <a:pt x="54164" y="2179"/>
                </a:cubicBezTo>
                <a:cubicBezTo>
                  <a:pt x="54252" y="2179"/>
                  <a:pt x="54346" y="2115"/>
                  <a:pt x="54442" y="2115"/>
                </a:cubicBezTo>
                <a:cubicBezTo>
                  <a:pt x="54474" y="2115"/>
                  <a:pt x="54507" y="2123"/>
                  <a:pt x="54540" y="2142"/>
                </a:cubicBezTo>
                <a:cubicBezTo>
                  <a:pt x="55152" y="2563"/>
                  <a:pt x="55916" y="2525"/>
                  <a:pt x="56605" y="2716"/>
                </a:cubicBezTo>
                <a:cubicBezTo>
                  <a:pt x="57179" y="2869"/>
                  <a:pt x="57714" y="3060"/>
                  <a:pt x="58288" y="3098"/>
                </a:cubicBezTo>
                <a:cubicBezTo>
                  <a:pt x="58364" y="3098"/>
                  <a:pt x="58479" y="3137"/>
                  <a:pt x="58555" y="3213"/>
                </a:cubicBezTo>
                <a:cubicBezTo>
                  <a:pt x="59550" y="3787"/>
                  <a:pt x="60621" y="4093"/>
                  <a:pt x="61692" y="4437"/>
                </a:cubicBezTo>
                <a:cubicBezTo>
                  <a:pt x="61806" y="4475"/>
                  <a:pt x="61921" y="4590"/>
                  <a:pt x="62036" y="4705"/>
                </a:cubicBezTo>
                <a:cubicBezTo>
                  <a:pt x="62180" y="4820"/>
                  <a:pt x="62303" y="4936"/>
                  <a:pt x="62470" y="4936"/>
                </a:cubicBezTo>
                <a:cubicBezTo>
                  <a:pt x="62524" y="4936"/>
                  <a:pt x="62582" y="4924"/>
                  <a:pt x="62648" y="4896"/>
                </a:cubicBezTo>
                <a:cubicBezTo>
                  <a:pt x="62686" y="4896"/>
                  <a:pt x="62763" y="5011"/>
                  <a:pt x="62801" y="5049"/>
                </a:cubicBezTo>
                <a:cubicBezTo>
                  <a:pt x="62834" y="5099"/>
                  <a:pt x="62853" y="5127"/>
                  <a:pt x="62886" y="5127"/>
                </a:cubicBezTo>
                <a:cubicBezTo>
                  <a:pt x="62928" y="5127"/>
                  <a:pt x="62994" y="5080"/>
                  <a:pt x="63145" y="4973"/>
                </a:cubicBezTo>
                <a:cubicBezTo>
                  <a:pt x="63451" y="5202"/>
                  <a:pt x="63795" y="5508"/>
                  <a:pt x="64139" y="5699"/>
                </a:cubicBezTo>
                <a:cubicBezTo>
                  <a:pt x="64522" y="5890"/>
                  <a:pt x="64904" y="5967"/>
                  <a:pt x="65363" y="6158"/>
                </a:cubicBezTo>
                <a:cubicBezTo>
                  <a:pt x="65401" y="6082"/>
                  <a:pt x="65516" y="5929"/>
                  <a:pt x="65707" y="5699"/>
                </a:cubicBezTo>
                <a:lnTo>
                  <a:pt x="65707" y="6502"/>
                </a:lnTo>
                <a:cubicBezTo>
                  <a:pt x="65774" y="6482"/>
                  <a:pt x="65837" y="6474"/>
                  <a:pt x="65898" y="6474"/>
                </a:cubicBezTo>
                <a:cubicBezTo>
                  <a:pt x="66184" y="6474"/>
                  <a:pt x="66411" y="6662"/>
                  <a:pt x="66664" y="6694"/>
                </a:cubicBezTo>
                <a:cubicBezTo>
                  <a:pt x="67352" y="6770"/>
                  <a:pt x="67926" y="7191"/>
                  <a:pt x="68538" y="7497"/>
                </a:cubicBezTo>
                <a:cubicBezTo>
                  <a:pt x="69150" y="7803"/>
                  <a:pt x="69685" y="8300"/>
                  <a:pt x="70297" y="8606"/>
                </a:cubicBezTo>
                <a:cubicBezTo>
                  <a:pt x="71062" y="8912"/>
                  <a:pt x="71636" y="9486"/>
                  <a:pt x="72286" y="9945"/>
                </a:cubicBezTo>
                <a:cubicBezTo>
                  <a:pt x="72553" y="10097"/>
                  <a:pt x="72706" y="10365"/>
                  <a:pt x="72936" y="10556"/>
                </a:cubicBezTo>
                <a:cubicBezTo>
                  <a:pt x="74083" y="11513"/>
                  <a:pt x="75154" y="12545"/>
                  <a:pt x="76340" y="13463"/>
                </a:cubicBezTo>
                <a:cubicBezTo>
                  <a:pt x="76914" y="13884"/>
                  <a:pt x="77372" y="14496"/>
                  <a:pt x="78023" y="14840"/>
                </a:cubicBezTo>
                <a:cubicBezTo>
                  <a:pt x="78214" y="15452"/>
                  <a:pt x="78749" y="15681"/>
                  <a:pt x="79170" y="16064"/>
                </a:cubicBezTo>
                <a:cubicBezTo>
                  <a:pt x="79247" y="16140"/>
                  <a:pt x="79285" y="16332"/>
                  <a:pt x="79323" y="16485"/>
                </a:cubicBezTo>
                <a:cubicBezTo>
                  <a:pt x="79667" y="17097"/>
                  <a:pt x="80356" y="17479"/>
                  <a:pt x="80623" y="18167"/>
                </a:cubicBezTo>
                <a:cubicBezTo>
                  <a:pt x="81159" y="18359"/>
                  <a:pt x="81274" y="18932"/>
                  <a:pt x="81618" y="19315"/>
                </a:cubicBezTo>
                <a:cubicBezTo>
                  <a:pt x="82077" y="19850"/>
                  <a:pt x="82536" y="20386"/>
                  <a:pt x="82727" y="21112"/>
                </a:cubicBezTo>
                <a:cubicBezTo>
                  <a:pt x="82727" y="21151"/>
                  <a:pt x="82803" y="21227"/>
                  <a:pt x="82880" y="21265"/>
                </a:cubicBezTo>
                <a:cubicBezTo>
                  <a:pt x="83339" y="21418"/>
                  <a:pt x="83415" y="21916"/>
                  <a:pt x="83645" y="22298"/>
                </a:cubicBezTo>
                <a:cubicBezTo>
                  <a:pt x="83721" y="22451"/>
                  <a:pt x="83760" y="22604"/>
                  <a:pt x="83951" y="22719"/>
                </a:cubicBezTo>
                <a:cubicBezTo>
                  <a:pt x="84066" y="22795"/>
                  <a:pt x="83874" y="23139"/>
                  <a:pt x="84180" y="23139"/>
                </a:cubicBezTo>
                <a:cubicBezTo>
                  <a:pt x="84142" y="23369"/>
                  <a:pt x="84639" y="23484"/>
                  <a:pt x="84371" y="23751"/>
                </a:cubicBezTo>
                <a:cubicBezTo>
                  <a:pt x="84601" y="24172"/>
                  <a:pt x="84830" y="24631"/>
                  <a:pt x="85060" y="25052"/>
                </a:cubicBezTo>
                <a:cubicBezTo>
                  <a:pt x="85175" y="25243"/>
                  <a:pt x="85328" y="25396"/>
                  <a:pt x="85366" y="25625"/>
                </a:cubicBezTo>
                <a:cubicBezTo>
                  <a:pt x="85442" y="25817"/>
                  <a:pt x="85442" y="25970"/>
                  <a:pt x="85634" y="26123"/>
                </a:cubicBezTo>
                <a:cubicBezTo>
                  <a:pt x="85748" y="26161"/>
                  <a:pt x="85710" y="26467"/>
                  <a:pt x="85825" y="26582"/>
                </a:cubicBezTo>
                <a:cubicBezTo>
                  <a:pt x="86016" y="26735"/>
                  <a:pt x="85710" y="27040"/>
                  <a:pt x="86093" y="27117"/>
                </a:cubicBezTo>
                <a:cubicBezTo>
                  <a:pt x="86207" y="27117"/>
                  <a:pt x="86246" y="27499"/>
                  <a:pt x="86322" y="27691"/>
                </a:cubicBezTo>
                <a:cubicBezTo>
                  <a:pt x="86399" y="27920"/>
                  <a:pt x="86513" y="28073"/>
                  <a:pt x="86590" y="28264"/>
                </a:cubicBezTo>
                <a:cubicBezTo>
                  <a:pt x="86666" y="28456"/>
                  <a:pt x="86743" y="28685"/>
                  <a:pt x="86781" y="28876"/>
                </a:cubicBezTo>
                <a:cubicBezTo>
                  <a:pt x="86819" y="28953"/>
                  <a:pt x="86934" y="28991"/>
                  <a:pt x="86972" y="29068"/>
                </a:cubicBezTo>
                <a:cubicBezTo>
                  <a:pt x="87049" y="29182"/>
                  <a:pt x="87202" y="29297"/>
                  <a:pt x="87202" y="29412"/>
                </a:cubicBezTo>
                <a:cubicBezTo>
                  <a:pt x="87202" y="29756"/>
                  <a:pt x="87469" y="29985"/>
                  <a:pt x="87508" y="30291"/>
                </a:cubicBezTo>
                <a:cubicBezTo>
                  <a:pt x="87584" y="30674"/>
                  <a:pt x="87699" y="30980"/>
                  <a:pt x="87967" y="31286"/>
                </a:cubicBezTo>
                <a:cubicBezTo>
                  <a:pt x="88234" y="31592"/>
                  <a:pt x="88196" y="32127"/>
                  <a:pt x="88349" y="32510"/>
                </a:cubicBezTo>
                <a:cubicBezTo>
                  <a:pt x="88540" y="33045"/>
                  <a:pt x="88655" y="33619"/>
                  <a:pt x="88961" y="34116"/>
                </a:cubicBezTo>
                <a:cubicBezTo>
                  <a:pt x="89229" y="34498"/>
                  <a:pt x="89420" y="34996"/>
                  <a:pt x="89420" y="35455"/>
                </a:cubicBezTo>
                <a:cubicBezTo>
                  <a:pt x="89382" y="35799"/>
                  <a:pt x="89688" y="36067"/>
                  <a:pt x="89611" y="36334"/>
                </a:cubicBezTo>
                <a:cubicBezTo>
                  <a:pt x="89458" y="36717"/>
                  <a:pt x="89688" y="36908"/>
                  <a:pt x="89879" y="37137"/>
                </a:cubicBezTo>
                <a:cubicBezTo>
                  <a:pt x="89611" y="37596"/>
                  <a:pt x="90108" y="38017"/>
                  <a:pt x="89917" y="38514"/>
                </a:cubicBezTo>
                <a:cubicBezTo>
                  <a:pt x="89802" y="38820"/>
                  <a:pt x="90070" y="39279"/>
                  <a:pt x="90070" y="39662"/>
                </a:cubicBezTo>
                <a:cubicBezTo>
                  <a:pt x="90108" y="40427"/>
                  <a:pt x="90070" y="41192"/>
                  <a:pt x="90070" y="41918"/>
                </a:cubicBezTo>
                <a:cubicBezTo>
                  <a:pt x="90070" y="42109"/>
                  <a:pt x="90147" y="42301"/>
                  <a:pt x="90108" y="42492"/>
                </a:cubicBezTo>
                <a:cubicBezTo>
                  <a:pt x="90070" y="43486"/>
                  <a:pt x="90185" y="44442"/>
                  <a:pt x="90147" y="45399"/>
                </a:cubicBezTo>
                <a:cubicBezTo>
                  <a:pt x="90108" y="45858"/>
                  <a:pt x="90108" y="46278"/>
                  <a:pt x="90070" y="46737"/>
                </a:cubicBezTo>
                <a:cubicBezTo>
                  <a:pt x="89994" y="47464"/>
                  <a:pt x="89917" y="48191"/>
                  <a:pt x="90032" y="48879"/>
                </a:cubicBezTo>
                <a:cubicBezTo>
                  <a:pt x="90070" y="49185"/>
                  <a:pt x="89726" y="49376"/>
                  <a:pt x="89955" y="49720"/>
                </a:cubicBezTo>
                <a:cubicBezTo>
                  <a:pt x="90070" y="49912"/>
                  <a:pt x="89994" y="50294"/>
                  <a:pt x="89955" y="50600"/>
                </a:cubicBezTo>
                <a:cubicBezTo>
                  <a:pt x="89917" y="50868"/>
                  <a:pt x="89802" y="51174"/>
                  <a:pt x="89726" y="51441"/>
                </a:cubicBezTo>
                <a:cubicBezTo>
                  <a:pt x="89649" y="51747"/>
                  <a:pt x="89573" y="52053"/>
                  <a:pt x="89573" y="52359"/>
                </a:cubicBezTo>
                <a:cubicBezTo>
                  <a:pt x="89611" y="53010"/>
                  <a:pt x="89382" y="53660"/>
                  <a:pt x="89267" y="54310"/>
                </a:cubicBezTo>
                <a:cubicBezTo>
                  <a:pt x="89114" y="54998"/>
                  <a:pt x="88846" y="55649"/>
                  <a:pt x="88770" y="56337"/>
                </a:cubicBezTo>
                <a:cubicBezTo>
                  <a:pt x="88732" y="56796"/>
                  <a:pt x="88464" y="57255"/>
                  <a:pt x="88579" y="57752"/>
                </a:cubicBezTo>
                <a:cubicBezTo>
                  <a:pt x="88579" y="57829"/>
                  <a:pt x="88502" y="57943"/>
                  <a:pt x="88426" y="58058"/>
                </a:cubicBezTo>
                <a:cubicBezTo>
                  <a:pt x="88349" y="58173"/>
                  <a:pt x="88234" y="58326"/>
                  <a:pt x="88234" y="58479"/>
                </a:cubicBezTo>
                <a:cubicBezTo>
                  <a:pt x="88120" y="59091"/>
                  <a:pt x="88043" y="59664"/>
                  <a:pt x="87661" y="60200"/>
                </a:cubicBezTo>
                <a:cubicBezTo>
                  <a:pt x="87622" y="60276"/>
                  <a:pt x="87584" y="60429"/>
                  <a:pt x="87584" y="60544"/>
                </a:cubicBezTo>
                <a:cubicBezTo>
                  <a:pt x="87546" y="60620"/>
                  <a:pt x="87622" y="60773"/>
                  <a:pt x="87584" y="60850"/>
                </a:cubicBezTo>
                <a:cubicBezTo>
                  <a:pt x="87087" y="61538"/>
                  <a:pt x="87163" y="62495"/>
                  <a:pt x="86552" y="63145"/>
                </a:cubicBezTo>
                <a:cubicBezTo>
                  <a:pt x="86628" y="63718"/>
                  <a:pt x="86207" y="64024"/>
                  <a:pt x="86016" y="64483"/>
                </a:cubicBezTo>
                <a:cubicBezTo>
                  <a:pt x="85863" y="64904"/>
                  <a:pt x="85787" y="65363"/>
                  <a:pt x="85442" y="65707"/>
                </a:cubicBezTo>
                <a:cubicBezTo>
                  <a:pt x="85328" y="65860"/>
                  <a:pt x="85366" y="66090"/>
                  <a:pt x="85328" y="66281"/>
                </a:cubicBezTo>
                <a:cubicBezTo>
                  <a:pt x="85251" y="66549"/>
                  <a:pt x="85136" y="66816"/>
                  <a:pt x="85022" y="67084"/>
                </a:cubicBezTo>
                <a:cubicBezTo>
                  <a:pt x="84945" y="67314"/>
                  <a:pt x="84869" y="67734"/>
                  <a:pt x="84716" y="67772"/>
                </a:cubicBezTo>
                <a:cubicBezTo>
                  <a:pt x="84218" y="67925"/>
                  <a:pt x="84601" y="68231"/>
                  <a:pt x="84486" y="68423"/>
                </a:cubicBezTo>
                <a:cubicBezTo>
                  <a:pt x="84448" y="68461"/>
                  <a:pt x="84486" y="68576"/>
                  <a:pt x="84448" y="68576"/>
                </a:cubicBezTo>
                <a:cubicBezTo>
                  <a:pt x="83951" y="68920"/>
                  <a:pt x="83874" y="69532"/>
                  <a:pt x="83607" y="69991"/>
                </a:cubicBezTo>
                <a:cubicBezTo>
                  <a:pt x="83492" y="70106"/>
                  <a:pt x="83454" y="70297"/>
                  <a:pt x="83377" y="70450"/>
                </a:cubicBezTo>
                <a:cubicBezTo>
                  <a:pt x="83301" y="70641"/>
                  <a:pt x="83262" y="70832"/>
                  <a:pt x="83109" y="70985"/>
                </a:cubicBezTo>
                <a:cubicBezTo>
                  <a:pt x="82612" y="71482"/>
                  <a:pt x="82344" y="72133"/>
                  <a:pt x="81924" y="72630"/>
                </a:cubicBezTo>
                <a:cubicBezTo>
                  <a:pt x="81733" y="72897"/>
                  <a:pt x="81618" y="73318"/>
                  <a:pt x="81197" y="73395"/>
                </a:cubicBezTo>
                <a:cubicBezTo>
                  <a:pt x="81159" y="73854"/>
                  <a:pt x="80738" y="74045"/>
                  <a:pt x="80585" y="74389"/>
                </a:cubicBezTo>
                <a:cubicBezTo>
                  <a:pt x="80241" y="75077"/>
                  <a:pt x="79629" y="75498"/>
                  <a:pt x="79208" y="76072"/>
                </a:cubicBezTo>
                <a:cubicBezTo>
                  <a:pt x="78749" y="76646"/>
                  <a:pt x="78290" y="77181"/>
                  <a:pt x="77831" y="77755"/>
                </a:cubicBezTo>
                <a:cubicBezTo>
                  <a:pt x="77717" y="77908"/>
                  <a:pt x="77372" y="77869"/>
                  <a:pt x="77372" y="78175"/>
                </a:cubicBezTo>
                <a:cubicBezTo>
                  <a:pt x="77372" y="78328"/>
                  <a:pt x="77181" y="78367"/>
                  <a:pt x="76990" y="78367"/>
                </a:cubicBezTo>
                <a:cubicBezTo>
                  <a:pt x="77028" y="78673"/>
                  <a:pt x="76722" y="78673"/>
                  <a:pt x="76569" y="78826"/>
                </a:cubicBezTo>
                <a:cubicBezTo>
                  <a:pt x="76416" y="78979"/>
                  <a:pt x="76302" y="79132"/>
                  <a:pt x="76187" y="79285"/>
                </a:cubicBezTo>
                <a:cubicBezTo>
                  <a:pt x="76187" y="79323"/>
                  <a:pt x="76187" y="79438"/>
                  <a:pt x="76149" y="79438"/>
                </a:cubicBezTo>
                <a:cubicBezTo>
                  <a:pt x="75537" y="79552"/>
                  <a:pt x="75422" y="80279"/>
                  <a:pt x="74848" y="80508"/>
                </a:cubicBezTo>
                <a:cubicBezTo>
                  <a:pt x="74428" y="80700"/>
                  <a:pt x="74122" y="81197"/>
                  <a:pt x="73777" y="81541"/>
                </a:cubicBezTo>
                <a:cubicBezTo>
                  <a:pt x="73605" y="81679"/>
                  <a:pt x="73526" y="81973"/>
                  <a:pt x="73231" y="81973"/>
                </a:cubicBezTo>
                <a:cubicBezTo>
                  <a:pt x="73199" y="81973"/>
                  <a:pt x="73165" y="81969"/>
                  <a:pt x="73127" y="81962"/>
                </a:cubicBezTo>
                <a:cubicBezTo>
                  <a:pt x="73122" y="81956"/>
                  <a:pt x="73116" y="81954"/>
                  <a:pt x="73111" y="81954"/>
                </a:cubicBezTo>
                <a:cubicBezTo>
                  <a:pt x="73078" y="81954"/>
                  <a:pt x="73045" y="82038"/>
                  <a:pt x="73012" y="82038"/>
                </a:cubicBezTo>
                <a:cubicBezTo>
                  <a:pt x="72807" y="82038"/>
                  <a:pt x="73031" y="82438"/>
                  <a:pt x="72749" y="82438"/>
                </a:cubicBezTo>
                <a:cubicBezTo>
                  <a:pt x="72717" y="82438"/>
                  <a:pt x="72677" y="82433"/>
                  <a:pt x="72630" y="82421"/>
                </a:cubicBezTo>
                <a:cubicBezTo>
                  <a:pt x="72621" y="82418"/>
                  <a:pt x="72612" y="82416"/>
                  <a:pt x="72603" y="82416"/>
                </a:cubicBezTo>
                <a:cubicBezTo>
                  <a:pt x="72486" y="82416"/>
                  <a:pt x="72310" y="82621"/>
                  <a:pt x="72133" y="82727"/>
                </a:cubicBezTo>
                <a:cubicBezTo>
                  <a:pt x="72095" y="82765"/>
                  <a:pt x="72056" y="82765"/>
                  <a:pt x="72056" y="82765"/>
                </a:cubicBezTo>
                <a:cubicBezTo>
                  <a:pt x="71980" y="83339"/>
                  <a:pt x="71368" y="83339"/>
                  <a:pt x="71062" y="83645"/>
                </a:cubicBezTo>
                <a:cubicBezTo>
                  <a:pt x="71024" y="83683"/>
                  <a:pt x="70909" y="83683"/>
                  <a:pt x="70871" y="83721"/>
                </a:cubicBezTo>
                <a:cubicBezTo>
                  <a:pt x="70412" y="84410"/>
                  <a:pt x="69647" y="84639"/>
                  <a:pt x="68920" y="84945"/>
                </a:cubicBezTo>
                <a:cubicBezTo>
                  <a:pt x="68907" y="84958"/>
                  <a:pt x="68895" y="84962"/>
                  <a:pt x="68883" y="84962"/>
                </a:cubicBezTo>
                <a:cubicBezTo>
                  <a:pt x="68861" y="84962"/>
                  <a:pt x="68844" y="84945"/>
                  <a:pt x="68844" y="84945"/>
                </a:cubicBezTo>
                <a:cubicBezTo>
                  <a:pt x="68576" y="85557"/>
                  <a:pt x="67849" y="85519"/>
                  <a:pt x="67429" y="85901"/>
                </a:cubicBezTo>
                <a:cubicBezTo>
                  <a:pt x="67314" y="86054"/>
                  <a:pt x="67199" y="86169"/>
                  <a:pt x="67084" y="86360"/>
                </a:cubicBezTo>
                <a:cubicBezTo>
                  <a:pt x="67008" y="86245"/>
                  <a:pt x="66970" y="86169"/>
                  <a:pt x="66931" y="86092"/>
                </a:cubicBezTo>
                <a:cubicBezTo>
                  <a:pt x="66625" y="86666"/>
                  <a:pt x="65746" y="86437"/>
                  <a:pt x="65554" y="87163"/>
                </a:cubicBezTo>
                <a:cubicBezTo>
                  <a:pt x="65210" y="87316"/>
                  <a:pt x="64866" y="87507"/>
                  <a:pt x="64484" y="87584"/>
                </a:cubicBezTo>
                <a:cubicBezTo>
                  <a:pt x="63948" y="87699"/>
                  <a:pt x="63489" y="87928"/>
                  <a:pt x="62992" y="88196"/>
                </a:cubicBezTo>
                <a:cubicBezTo>
                  <a:pt x="62495" y="88464"/>
                  <a:pt x="61921" y="88693"/>
                  <a:pt x="61386" y="88846"/>
                </a:cubicBezTo>
                <a:cubicBezTo>
                  <a:pt x="61118" y="88961"/>
                  <a:pt x="60888" y="88961"/>
                  <a:pt x="60697" y="89152"/>
                </a:cubicBezTo>
                <a:cubicBezTo>
                  <a:pt x="60621" y="89229"/>
                  <a:pt x="60516" y="89229"/>
                  <a:pt x="60406" y="89229"/>
                </a:cubicBezTo>
                <a:cubicBezTo>
                  <a:pt x="60296" y="89229"/>
                  <a:pt x="60181" y="89229"/>
                  <a:pt x="60085" y="89305"/>
                </a:cubicBezTo>
                <a:cubicBezTo>
                  <a:pt x="59867" y="89469"/>
                  <a:pt x="59630" y="89613"/>
                  <a:pt x="59373" y="89613"/>
                </a:cubicBezTo>
                <a:cubicBezTo>
                  <a:pt x="59269" y="89613"/>
                  <a:pt x="59162" y="89589"/>
                  <a:pt x="59053" y="89534"/>
                </a:cubicBezTo>
                <a:cubicBezTo>
                  <a:pt x="58747" y="89879"/>
                  <a:pt x="58249" y="89649"/>
                  <a:pt x="57944" y="89879"/>
                </a:cubicBezTo>
                <a:cubicBezTo>
                  <a:pt x="57446" y="90185"/>
                  <a:pt x="56911" y="90261"/>
                  <a:pt x="56375" y="90299"/>
                </a:cubicBezTo>
                <a:cubicBezTo>
                  <a:pt x="55955" y="90338"/>
                  <a:pt x="55572" y="90491"/>
                  <a:pt x="55152" y="90644"/>
                </a:cubicBezTo>
                <a:cubicBezTo>
                  <a:pt x="54866" y="90701"/>
                  <a:pt x="54602" y="90864"/>
                  <a:pt x="54312" y="90864"/>
                </a:cubicBezTo>
                <a:cubicBezTo>
                  <a:pt x="54213" y="90864"/>
                  <a:pt x="54111" y="90845"/>
                  <a:pt x="54004" y="90797"/>
                </a:cubicBezTo>
                <a:cubicBezTo>
                  <a:pt x="53814" y="91021"/>
                  <a:pt x="53569" y="91051"/>
                  <a:pt x="53315" y="91051"/>
                </a:cubicBezTo>
                <a:cubicBezTo>
                  <a:pt x="53226" y="91051"/>
                  <a:pt x="53135" y="91047"/>
                  <a:pt x="53046" y="91047"/>
                </a:cubicBezTo>
                <a:cubicBezTo>
                  <a:pt x="52827" y="91047"/>
                  <a:pt x="52614" y="91069"/>
                  <a:pt x="52436" y="91217"/>
                </a:cubicBezTo>
                <a:cubicBezTo>
                  <a:pt x="52360" y="91294"/>
                  <a:pt x="52054" y="91256"/>
                  <a:pt x="51901" y="91294"/>
                </a:cubicBezTo>
                <a:cubicBezTo>
                  <a:pt x="51465" y="91342"/>
                  <a:pt x="51030" y="91391"/>
                  <a:pt x="50594" y="91391"/>
                </a:cubicBezTo>
                <a:cubicBezTo>
                  <a:pt x="50341" y="91391"/>
                  <a:pt x="50088" y="91374"/>
                  <a:pt x="49835" y="91332"/>
                </a:cubicBezTo>
                <a:cubicBezTo>
                  <a:pt x="49606" y="91332"/>
                  <a:pt x="49415" y="91370"/>
                  <a:pt x="49185" y="91370"/>
                </a:cubicBezTo>
                <a:cubicBezTo>
                  <a:pt x="48777" y="91370"/>
                  <a:pt x="48386" y="91404"/>
                  <a:pt x="47990" y="91404"/>
                </a:cubicBezTo>
                <a:cubicBezTo>
                  <a:pt x="47791" y="91404"/>
                  <a:pt x="47592" y="91396"/>
                  <a:pt x="47388" y="91370"/>
                </a:cubicBezTo>
                <a:cubicBezTo>
                  <a:pt x="47342" y="91366"/>
                  <a:pt x="47295" y="91364"/>
                  <a:pt x="47248" y="91364"/>
                </a:cubicBezTo>
                <a:cubicBezTo>
                  <a:pt x="46867" y="91364"/>
                  <a:pt x="46462" y="91489"/>
                  <a:pt x="46087" y="91523"/>
                </a:cubicBezTo>
                <a:cubicBezTo>
                  <a:pt x="45965" y="91523"/>
                  <a:pt x="45842" y="91572"/>
                  <a:pt x="45740" y="91572"/>
                </a:cubicBezTo>
                <a:cubicBezTo>
                  <a:pt x="45714" y="91572"/>
                  <a:pt x="45689" y="91569"/>
                  <a:pt x="45667" y="91562"/>
                </a:cubicBezTo>
                <a:cubicBezTo>
                  <a:pt x="45181" y="91414"/>
                  <a:pt x="44684" y="91359"/>
                  <a:pt x="44182" y="91359"/>
                </a:cubicBezTo>
                <a:cubicBezTo>
                  <a:pt x="43774" y="91359"/>
                  <a:pt x="43363" y="91395"/>
                  <a:pt x="42951" y="91447"/>
                </a:cubicBezTo>
                <a:lnTo>
                  <a:pt x="42875" y="91447"/>
                </a:lnTo>
                <a:cubicBezTo>
                  <a:pt x="42377" y="91256"/>
                  <a:pt x="41842" y="91294"/>
                  <a:pt x="41345" y="91217"/>
                </a:cubicBezTo>
                <a:cubicBezTo>
                  <a:pt x="40618" y="91064"/>
                  <a:pt x="39930" y="90873"/>
                  <a:pt x="39203" y="90873"/>
                </a:cubicBezTo>
                <a:cubicBezTo>
                  <a:pt x="38935" y="90835"/>
                  <a:pt x="38668" y="90720"/>
                  <a:pt x="38362" y="90605"/>
                </a:cubicBezTo>
                <a:cubicBezTo>
                  <a:pt x="38202" y="90705"/>
                  <a:pt x="38031" y="90763"/>
                  <a:pt x="37851" y="90763"/>
                </a:cubicBezTo>
                <a:cubicBezTo>
                  <a:pt x="37685" y="90763"/>
                  <a:pt x="37512" y="90715"/>
                  <a:pt x="37329" y="90605"/>
                </a:cubicBezTo>
                <a:cubicBezTo>
                  <a:pt x="37083" y="90469"/>
                  <a:pt x="36818" y="90352"/>
                  <a:pt x="36519" y="90352"/>
                </a:cubicBezTo>
                <a:cubicBezTo>
                  <a:pt x="36399" y="90352"/>
                  <a:pt x="36274" y="90370"/>
                  <a:pt x="36143" y="90414"/>
                </a:cubicBezTo>
                <a:cubicBezTo>
                  <a:pt x="36127" y="90418"/>
                  <a:pt x="36110" y="90420"/>
                  <a:pt x="36092" y="90420"/>
                </a:cubicBezTo>
                <a:cubicBezTo>
                  <a:pt x="35942" y="90420"/>
                  <a:pt x="35744" y="90287"/>
                  <a:pt x="35608" y="90185"/>
                </a:cubicBezTo>
                <a:cubicBezTo>
                  <a:pt x="35594" y="90175"/>
                  <a:pt x="35578" y="90172"/>
                  <a:pt x="35561" y="90172"/>
                </a:cubicBezTo>
                <a:cubicBezTo>
                  <a:pt x="35492" y="90172"/>
                  <a:pt x="35400" y="90229"/>
                  <a:pt x="35330" y="90229"/>
                </a:cubicBezTo>
                <a:cubicBezTo>
                  <a:pt x="35270" y="90229"/>
                  <a:pt x="35225" y="90187"/>
                  <a:pt x="35225" y="90032"/>
                </a:cubicBezTo>
                <a:cubicBezTo>
                  <a:pt x="35225" y="89993"/>
                  <a:pt x="34919" y="89993"/>
                  <a:pt x="34766" y="89917"/>
                </a:cubicBezTo>
                <a:cubicBezTo>
                  <a:pt x="34658" y="89863"/>
                  <a:pt x="34569" y="89809"/>
                  <a:pt x="34445" y="89809"/>
                </a:cubicBezTo>
                <a:cubicBezTo>
                  <a:pt x="34394" y="89809"/>
                  <a:pt x="34336" y="89818"/>
                  <a:pt x="34269" y="89840"/>
                </a:cubicBezTo>
                <a:cubicBezTo>
                  <a:pt x="34262" y="89843"/>
                  <a:pt x="34254" y="89844"/>
                  <a:pt x="34245" y="89844"/>
                </a:cubicBezTo>
                <a:cubicBezTo>
                  <a:pt x="34124" y="89844"/>
                  <a:pt x="33910" y="89606"/>
                  <a:pt x="33696" y="89534"/>
                </a:cubicBezTo>
                <a:cubicBezTo>
                  <a:pt x="33673" y="89529"/>
                  <a:pt x="33647" y="89526"/>
                  <a:pt x="33619" y="89526"/>
                </a:cubicBezTo>
                <a:cubicBezTo>
                  <a:pt x="33512" y="89526"/>
                  <a:pt x="33377" y="89561"/>
                  <a:pt x="33261" y="89561"/>
                </a:cubicBezTo>
                <a:cubicBezTo>
                  <a:pt x="33210" y="89561"/>
                  <a:pt x="33162" y="89555"/>
                  <a:pt x="33122" y="89534"/>
                </a:cubicBezTo>
                <a:cubicBezTo>
                  <a:pt x="32739" y="89458"/>
                  <a:pt x="32357" y="89305"/>
                  <a:pt x="32051" y="89114"/>
                </a:cubicBezTo>
                <a:cubicBezTo>
                  <a:pt x="31832" y="88957"/>
                  <a:pt x="31663" y="88826"/>
                  <a:pt x="31420" y="88826"/>
                </a:cubicBezTo>
                <a:cubicBezTo>
                  <a:pt x="31367" y="88826"/>
                  <a:pt x="31310" y="88832"/>
                  <a:pt x="31248" y="88846"/>
                </a:cubicBezTo>
                <a:cubicBezTo>
                  <a:pt x="31242" y="88849"/>
                  <a:pt x="31236" y="88850"/>
                  <a:pt x="31229" y="88850"/>
                </a:cubicBezTo>
                <a:cubicBezTo>
                  <a:pt x="31148" y="88850"/>
                  <a:pt x="31007" y="88652"/>
                  <a:pt x="30865" y="88617"/>
                </a:cubicBezTo>
                <a:cubicBezTo>
                  <a:pt x="30636" y="88540"/>
                  <a:pt x="30406" y="88540"/>
                  <a:pt x="30215" y="88464"/>
                </a:cubicBezTo>
                <a:cubicBezTo>
                  <a:pt x="30024" y="88425"/>
                  <a:pt x="29871" y="88311"/>
                  <a:pt x="29680" y="88234"/>
                </a:cubicBezTo>
                <a:cubicBezTo>
                  <a:pt x="29489" y="88158"/>
                  <a:pt x="29336" y="88005"/>
                  <a:pt x="29144" y="87966"/>
                </a:cubicBezTo>
                <a:cubicBezTo>
                  <a:pt x="28915" y="87928"/>
                  <a:pt x="28724" y="87890"/>
                  <a:pt x="28532" y="87737"/>
                </a:cubicBezTo>
                <a:cubicBezTo>
                  <a:pt x="28464" y="87805"/>
                  <a:pt x="28415" y="87831"/>
                  <a:pt x="28377" y="87831"/>
                </a:cubicBezTo>
                <a:cubicBezTo>
                  <a:pt x="28243" y="87831"/>
                  <a:pt x="28243" y="87507"/>
                  <a:pt x="28035" y="87507"/>
                </a:cubicBezTo>
                <a:cubicBezTo>
                  <a:pt x="27538" y="87469"/>
                  <a:pt x="27003" y="87316"/>
                  <a:pt x="26620" y="86896"/>
                </a:cubicBezTo>
                <a:cubicBezTo>
                  <a:pt x="26429" y="86704"/>
                  <a:pt x="26046" y="86666"/>
                  <a:pt x="25740" y="86513"/>
                </a:cubicBezTo>
                <a:cubicBezTo>
                  <a:pt x="25511" y="86437"/>
                  <a:pt x="25243" y="86437"/>
                  <a:pt x="25128" y="86131"/>
                </a:cubicBezTo>
                <a:cubicBezTo>
                  <a:pt x="25090" y="86016"/>
                  <a:pt x="24822" y="85978"/>
                  <a:pt x="24670" y="85939"/>
                </a:cubicBezTo>
                <a:cubicBezTo>
                  <a:pt x="24249" y="85939"/>
                  <a:pt x="23981" y="85557"/>
                  <a:pt x="23599" y="85519"/>
                </a:cubicBezTo>
                <a:cubicBezTo>
                  <a:pt x="23369" y="85480"/>
                  <a:pt x="23216" y="85213"/>
                  <a:pt x="22987" y="85021"/>
                </a:cubicBezTo>
                <a:cubicBezTo>
                  <a:pt x="22948" y="85021"/>
                  <a:pt x="22872" y="85060"/>
                  <a:pt x="22795" y="85098"/>
                </a:cubicBezTo>
                <a:cubicBezTo>
                  <a:pt x="22642" y="84983"/>
                  <a:pt x="22451" y="84792"/>
                  <a:pt x="22298" y="84677"/>
                </a:cubicBezTo>
                <a:cubicBezTo>
                  <a:pt x="22107" y="84563"/>
                  <a:pt x="21916" y="84486"/>
                  <a:pt x="21725" y="84410"/>
                </a:cubicBezTo>
                <a:cubicBezTo>
                  <a:pt x="21648" y="84371"/>
                  <a:pt x="21533" y="84371"/>
                  <a:pt x="21495" y="84333"/>
                </a:cubicBezTo>
                <a:cubicBezTo>
                  <a:pt x="21266" y="83798"/>
                  <a:pt x="20730" y="83606"/>
                  <a:pt x="20309" y="83300"/>
                </a:cubicBezTo>
                <a:cubicBezTo>
                  <a:pt x="20042" y="83109"/>
                  <a:pt x="19774" y="82918"/>
                  <a:pt x="19506" y="82727"/>
                </a:cubicBezTo>
                <a:cubicBezTo>
                  <a:pt x="19430" y="82688"/>
                  <a:pt x="19392" y="82612"/>
                  <a:pt x="19315" y="82574"/>
                </a:cubicBezTo>
                <a:cubicBezTo>
                  <a:pt x="19047" y="82306"/>
                  <a:pt x="18818" y="81847"/>
                  <a:pt x="18512" y="81809"/>
                </a:cubicBezTo>
                <a:cubicBezTo>
                  <a:pt x="18119" y="81737"/>
                  <a:pt x="18060" y="81266"/>
                  <a:pt x="17680" y="81266"/>
                </a:cubicBezTo>
                <a:cubicBezTo>
                  <a:pt x="17653" y="81266"/>
                  <a:pt x="17624" y="81268"/>
                  <a:pt x="17594" y="81273"/>
                </a:cubicBezTo>
                <a:cubicBezTo>
                  <a:pt x="17589" y="81276"/>
                  <a:pt x="17584" y="81277"/>
                  <a:pt x="17579" y="81277"/>
                </a:cubicBezTo>
                <a:cubicBezTo>
                  <a:pt x="17507" y="81277"/>
                  <a:pt x="17433" y="81036"/>
                  <a:pt x="17326" y="80929"/>
                </a:cubicBezTo>
                <a:cubicBezTo>
                  <a:pt x="17135" y="80776"/>
                  <a:pt x="16982" y="80547"/>
                  <a:pt x="16753" y="80470"/>
                </a:cubicBezTo>
                <a:cubicBezTo>
                  <a:pt x="16294" y="80279"/>
                  <a:pt x="16179" y="79705"/>
                  <a:pt x="15720" y="79552"/>
                </a:cubicBezTo>
                <a:cubicBezTo>
                  <a:pt x="15299" y="78864"/>
                  <a:pt x="14496" y="78443"/>
                  <a:pt x="14114" y="77716"/>
                </a:cubicBezTo>
                <a:cubicBezTo>
                  <a:pt x="14037" y="77602"/>
                  <a:pt x="13922" y="77525"/>
                  <a:pt x="13808" y="77449"/>
                </a:cubicBezTo>
                <a:cubicBezTo>
                  <a:pt x="13616" y="77219"/>
                  <a:pt x="13425" y="77028"/>
                  <a:pt x="13234" y="76799"/>
                </a:cubicBezTo>
                <a:cubicBezTo>
                  <a:pt x="13157" y="76722"/>
                  <a:pt x="13119" y="76569"/>
                  <a:pt x="13081" y="76569"/>
                </a:cubicBezTo>
                <a:cubicBezTo>
                  <a:pt x="12507" y="76569"/>
                  <a:pt x="12584" y="75995"/>
                  <a:pt x="12278" y="75766"/>
                </a:cubicBezTo>
                <a:cubicBezTo>
                  <a:pt x="12087" y="75575"/>
                  <a:pt x="12010" y="75269"/>
                  <a:pt x="11819" y="75116"/>
                </a:cubicBezTo>
                <a:cubicBezTo>
                  <a:pt x="11628" y="74963"/>
                  <a:pt x="11551" y="74733"/>
                  <a:pt x="11283" y="74580"/>
                </a:cubicBezTo>
                <a:cubicBezTo>
                  <a:pt x="11130" y="74504"/>
                  <a:pt x="11054" y="74236"/>
                  <a:pt x="10863" y="74045"/>
                </a:cubicBezTo>
                <a:cubicBezTo>
                  <a:pt x="10595" y="73815"/>
                  <a:pt x="10442" y="73471"/>
                  <a:pt x="10251" y="73165"/>
                </a:cubicBezTo>
                <a:cubicBezTo>
                  <a:pt x="10021" y="72706"/>
                  <a:pt x="9754" y="72286"/>
                  <a:pt x="9409" y="71903"/>
                </a:cubicBezTo>
                <a:cubicBezTo>
                  <a:pt x="9295" y="71750"/>
                  <a:pt x="8950" y="71635"/>
                  <a:pt x="9142" y="71291"/>
                </a:cubicBezTo>
                <a:cubicBezTo>
                  <a:pt x="9142" y="71291"/>
                  <a:pt x="9065" y="71215"/>
                  <a:pt x="8989" y="71138"/>
                </a:cubicBezTo>
                <a:cubicBezTo>
                  <a:pt x="8874" y="71023"/>
                  <a:pt x="8683" y="70870"/>
                  <a:pt x="8606" y="70717"/>
                </a:cubicBezTo>
                <a:cubicBezTo>
                  <a:pt x="8453" y="70258"/>
                  <a:pt x="8109" y="69953"/>
                  <a:pt x="7994" y="69494"/>
                </a:cubicBezTo>
                <a:cubicBezTo>
                  <a:pt x="7918" y="69226"/>
                  <a:pt x="7574" y="69035"/>
                  <a:pt x="7497" y="68729"/>
                </a:cubicBezTo>
                <a:cubicBezTo>
                  <a:pt x="7268" y="68117"/>
                  <a:pt x="6885" y="67581"/>
                  <a:pt x="6656" y="66969"/>
                </a:cubicBezTo>
                <a:cubicBezTo>
                  <a:pt x="6426" y="66434"/>
                  <a:pt x="6082" y="66013"/>
                  <a:pt x="5929" y="65439"/>
                </a:cubicBezTo>
                <a:cubicBezTo>
                  <a:pt x="5776" y="64942"/>
                  <a:pt x="5355" y="64560"/>
                  <a:pt x="5241" y="63986"/>
                </a:cubicBezTo>
                <a:cubicBezTo>
                  <a:pt x="4858" y="63910"/>
                  <a:pt x="5011" y="63527"/>
                  <a:pt x="4896" y="63259"/>
                </a:cubicBezTo>
                <a:cubicBezTo>
                  <a:pt x="4782" y="62992"/>
                  <a:pt x="4667" y="62724"/>
                  <a:pt x="4590" y="62418"/>
                </a:cubicBezTo>
                <a:cubicBezTo>
                  <a:pt x="4514" y="62036"/>
                  <a:pt x="4208" y="61768"/>
                  <a:pt x="4208" y="61309"/>
                </a:cubicBezTo>
                <a:cubicBezTo>
                  <a:pt x="4208" y="61156"/>
                  <a:pt x="3940" y="61003"/>
                  <a:pt x="3825" y="60888"/>
                </a:cubicBezTo>
                <a:cubicBezTo>
                  <a:pt x="3825" y="60735"/>
                  <a:pt x="3902" y="60544"/>
                  <a:pt x="3864" y="60506"/>
                </a:cubicBezTo>
                <a:cubicBezTo>
                  <a:pt x="3443" y="60123"/>
                  <a:pt x="3367" y="59664"/>
                  <a:pt x="3519" y="59167"/>
                </a:cubicBezTo>
                <a:cubicBezTo>
                  <a:pt x="3596" y="58899"/>
                  <a:pt x="3252" y="58746"/>
                  <a:pt x="3328" y="58440"/>
                </a:cubicBezTo>
                <a:cubicBezTo>
                  <a:pt x="3290" y="58440"/>
                  <a:pt x="3252" y="58402"/>
                  <a:pt x="3214" y="58402"/>
                </a:cubicBezTo>
                <a:cubicBezTo>
                  <a:pt x="3252" y="58211"/>
                  <a:pt x="3290" y="57982"/>
                  <a:pt x="3367" y="57752"/>
                </a:cubicBezTo>
                <a:cubicBezTo>
                  <a:pt x="3137" y="57752"/>
                  <a:pt x="3022" y="57714"/>
                  <a:pt x="2793" y="57714"/>
                </a:cubicBezTo>
                <a:cubicBezTo>
                  <a:pt x="2908" y="57523"/>
                  <a:pt x="2984" y="57370"/>
                  <a:pt x="3061" y="57178"/>
                </a:cubicBezTo>
                <a:cubicBezTo>
                  <a:pt x="2563" y="56681"/>
                  <a:pt x="3099" y="55878"/>
                  <a:pt x="2602" y="55457"/>
                </a:cubicBezTo>
                <a:cubicBezTo>
                  <a:pt x="2602" y="55190"/>
                  <a:pt x="2678" y="54960"/>
                  <a:pt x="2602" y="54769"/>
                </a:cubicBezTo>
                <a:cubicBezTo>
                  <a:pt x="2487" y="54386"/>
                  <a:pt x="2334" y="54004"/>
                  <a:pt x="2372" y="53583"/>
                </a:cubicBezTo>
                <a:cubicBezTo>
                  <a:pt x="2410" y="53277"/>
                  <a:pt x="2181" y="52971"/>
                  <a:pt x="2181" y="52665"/>
                </a:cubicBezTo>
                <a:cubicBezTo>
                  <a:pt x="2143" y="51862"/>
                  <a:pt x="1837" y="51097"/>
                  <a:pt x="1913" y="50294"/>
                </a:cubicBezTo>
                <a:cubicBezTo>
                  <a:pt x="1951" y="49873"/>
                  <a:pt x="1760" y="49453"/>
                  <a:pt x="1722" y="49070"/>
                </a:cubicBezTo>
                <a:cubicBezTo>
                  <a:pt x="1684" y="48802"/>
                  <a:pt x="1760" y="48497"/>
                  <a:pt x="1760" y="48229"/>
                </a:cubicBezTo>
                <a:cubicBezTo>
                  <a:pt x="1798" y="47885"/>
                  <a:pt x="1760" y="47540"/>
                  <a:pt x="1760" y="47158"/>
                </a:cubicBezTo>
                <a:cubicBezTo>
                  <a:pt x="1722" y="46125"/>
                  <a:pt x="1645" y="45054"/>
                  <a:pt x="1684" y="44022"/>
                </a:cubicBezTo>
                <a:cubicBezTo>
                  <a:pt x="1684" y="43066"/>
                  <a:pt x="1722" y="42109"/>
                  <a:pt x="1760" y="41192"/>
                </a:cubicBezTo>
                <a:cubicBezTo>
                  <a:pt x="1798" y="40580"/>
                  <a:pt x="1837" y="39968"/>
                  <a:pt x="1875" y="39394"/>
                </a:cubicBezTo>
                <a:cubicBezTo>
                  <a:pt x="1913" y="38438"/>
                  <a:pt x="2219" y="37520"/>
                  <a:pt x="2334" y="36564"/>
                </a:cubicBezTo>
                <a:cubicBezTo>
                  <a:pt x="2372" y="35914"/>
                  <a:pt x="2755" y="35340"/>
                  <a:pt x="2678" y="34651"/>
                </a:cubicBezTo>
                <a:cubicBezTo>
                  <a:pt x="3022" y="34307"/>
                  <a:pt x="2908" y="33810"/>
                  <a:pt x="3061" y="33389"/>
                </a:cubicBezTo>
                <a:cubicBezTo>
                  <a:pt x="3328" y="32777"/>
                  <a:pt x="3481" y="32127"/>
                  <a:pt x="3672" y="31477"/>
                </a:cubicBezTo>
                <a:cubicBezTo>
                  <a:pt x="3787" y="31056"/>
                  <a:pt x="4131" y="30674"/>
                  <a:pt x="4131" y="30215"/>
                </a:cubicBezTo>
                <a:cubicBezTo>
                  <a:pt x="4170" y="29794"/>
                  <a:pt x="4514" y="29450"/>
                  <a:pt x="4476" y="28991"/>
                </a:cubicBezTo>
                <a:cubicBezTo>
                  <a:pt x="4476" y="28953"/>
                  <a:pt x="4552" y="28915"/>
                  <a:pt x="4552" y="28838"/>
                </a:cubicBezTo>
                <a:cubicBezTo>
                  <a:pt x="4590" y="28570"/>
                  <a:pt x="5011" y="28456"/>
                  <a:pt x="4935" y="28035"/>
                </a:cubicBezTo>
                <a:cubicBezTo>
                  <a:pt x="4896" y="27767"/>
                  <a:pt x="5202" y="27461"/>
                  <a:pt x="5355" y="27193"/>
                </a:cubicBezTo>
                <a:cubicBezTo>
                  <a:pt x="5470" y="26887"/>
                  <a:pt x="5661" y="26620"/>
                  <a:pt x="5814" y="26314"/>
                </a:cubicBezTo>
                <a:cubicBezTo>
                  <a:pt x="6005" y="25855"/>
                  <a:pt x="6120" y="25396"/>
                  <a:pt x="6350" y="24975"/>
                </a:cubicBezTo>
                <a:cubicBezTo>
                  <a:pt x="6617" y="24402"/>
                  <a:pt x="6809" y="23751"/>
                  <a:pt x="7268" y="23292"/>
                </a:cubicBezTo>
                <a:cubicBezTo>
                  <a:pt x="7268" y="23292"/>
                  <a:pt x="7306" y="23254"/>
                  <a:pt x="7306" y="23254"/>
                </a:cubicBezTo>
                <a:cubicBezTo>
                  <a:pt x="7612" y="22221"/>
                  <a:pt x="8453" y="21495"/>
                  <a:pt x="8874" y="20577"/>
                </a:cubicBezTo>
                <a:cubicBezTo>
                  <a:pt x="8989" y="20347"/>
                  <a:pt x="9142" y="20118"/>
                  <a:pt x="9295" y="19927"/>
                </a:cubicBezTo>
                <a:cubicBezTo>
                  <a:pt x="9754" y="19315"/>
                  <a:pt x="10060" y="18550"/>
                  <a:pt x="10671" y="17976"/>
                </a:cubicBezTo>
                <a:cubicBezTo>
                  <a:pt x="10748" y="17938"/>
                  <a:pt x="10710" y="17632"/>
                  <a:pt x="10863" y="17479"/>
                </a:cubicBezTo>
                <a:cubicBezTo>
                  <a:pt x="11054" y="17326"/>
                  <a:pt x="11283" y="17249"/>
                  <a:pt x="11360" y="16944"/>
                </a:cubicBezTo>
                <a:cubicBezTo>
                  <a:pt x="11398" y="16752"/>
                  <a:pt x="11742" y="16676"/>
                  <a:pt x="11857" y="16485"/>
                </a:cubicBezTo>
                <a:cubicBezTo>
                  <a:pt x="12240" y="15873"/>
                  <a:pt x="13004" y="15605"/>
                  <a:pt x="13310" y="14955"/>
                </a:cubicBezTo>
                <a:cubicBezTo>
                  <a:pt x="13540" y="14496"/>
                  <a:pt x="14037" y="14343"/>
                  <a:pt x="14190" y="13846"/>
                </a:cubicBezTo>
                <a:cubicBezTo>
                  <a:pt x="14228" y="13693"/>
                  <a:pt x="14649" y="13769"/>
                  <a:pt x="14573" y="13425"/>
                </a:cubicBezTo>
                <a:cubicBezTo>
                  <a:pt x="14534" y="13081"/>
                  <a:pt x="14955" y="13387"/>
                  <a:pt x="15032" y="13081"/>
                </a:cubicBezTo>
                <a:cubicBezTo>
                  <a:pt x="15070" y="12928"/>
                  <a:pt x="15299" y="12813"/>
                  <a:pt x="15414" y="12660"/>
                </a:cubicBezTo>
                <a:cubicBezTo>
                  <a:pt x="15605" y="12507"/>
                  <a:pt x="15758" y="12354"/>
                  <a:pt x="15949" y="12239"/>
                </a:cubicBezTo>
                <a:cubicBezTo>
                  <a:pt x="16179" y="12086"/>
                  <a:pt x="16141" y="11666"/>
                  <a:pt x="16561" y="11666"/>
                </a:cubicBezTo>
                <a:cubicBezTo>
                  <a:pt x="16791" y="11627"/>
                  <a:pt x="16944" y="11245"/>
                  <a:pt x="17173" y="11054"/>
                </a:cubicBezTo>
                <a:cubicBezTo>
                  <a:pt x="17288" y="10939"/>
                  <a:pt x="17403" y="10862"/>
                  <a:pt x="17556" y="10786"/>
                </a:cubicBezTo>
                <a:cubicBezTo>
                  <a:pt x="17862" y="10671"/>
                  <a:pt x="18168" y="10480"/>
                  <a:pt x="18359" y="10174"/>
                </a:cubicBezTo>
                <a:cubicBezTo>
                  <a:pt x="18397" y="10059"/>
                  <a:pt x="18512" y="9945"/>
                  <a:pt x="18627" y="9906"/>
                </a:cubicBezTo>
                <a:cubicBezTo>
                  <a:pt x="19200" y="9792"/>
                  <a:pt x="19545" y="9294"/>
                  <a:pt x="19965" y="8988"/>
                </a:cubicBezTo>
                <a:cubicBezTo>
                  <a:pt x="20615" y="8568"/>
                  <a:pt x="21304" y="8147"/>
                  <a:pt x="21954" y="7726"/>
                </a:cubicBezTo>
                <a:cubicBezTo>
                  <a:pt x="22413" y="7459"/>
                  <a:pt x="22834" y="7153"/>
                  <a:pt x="23293" y="6923"/>
                </a:cubicBezTo>
                <a:cubicBezTo>
                  <a:pt x="23866" y="6617"/>
                  <a:pt x="24402" y="6311"/>
                  <a:pt x="24937" y="5929"/>
                </a:cubicBezTo>
                <a:cubicBezTo>
                  <a:pt x="25702" y="5355"/>
                  <a:pt x="26658" y="5087"/>
                  <a:pt x="27461" y="4514"/>
                </a:cubicBezTo>
                <a:cubicBezTo>
                  <a:pt x="27614" y="4399"/>
                  <a:pt x="27882" y="4437"/>
                  <a:pt x="28112" y="4399"/>
                </a:cubicBezTo>
                <a:cubicBezTo>
                  <a:pt x="27997" y="4246"/>
                  <a:pt x="27997" y="4246"/>
                  <a:pt x="27959" y="4208"/>
                </a:cubicBezTo>
                <a:cubicBezTo>
                  <a:pt x="28379" y="3863"/>
                  <a:pt x="28991" y="3940"/>
                  <a:pt x="29374" y="3519"/>
                </a:cubicBezTo>
                <a:cubicBezTo>
                  <a:pt x="29383" y="3500"/>
                  <a:pt x="29400" y="3493"/>
                  <a:pt x="29422" y="3493"/>
                </a:cubicBezTo>
                <a:cubicBezTo>
                  <a:pt x="29486" y="3493"/>
                  <a:pt x="29594" y="3557"/>
                  <a:pt x="29680" y="3557"/>
                </a:cubicBezTo>
                <a:cubicBezTo>
                  <a:pt x="29794" y="3519"/>
                  <a:pt x="29947" y="3481"/>
                  <a:pt x="30139" y="3443"/>
                </a:cubicBezTo>
                <a:cubicBezTo>
                  <a:pt x="29947" y="3366"/>
                  <a:pt x="29871" y="3328"/>
                  <a:pt x="29718" y="3290"/>
                </a:cubicBezTo>
                <a:cubicBezTo>
                  <a:pt x="29947" y="3175"/>
                  <a:pt x="30139" y="3060"/>
                  <a:pt x="30330" y="2984"/>
                </a:cubicBezTo>
                <a:cubicBezTo>
                  <a:pt x="30371" y="3086"/>
                  <a:pt x="30420" y="3120"/>
                  <a:pt x="30473" y="3120"/>
                </a:cubicBezTo>
                <a:cubicBezTo>
                  <a:pt x="30580" y="3120"/>
                  <a:pt x="30704" y="2986"/>
                  <a:pt x="30817" y="2986"/>
                </a:cubicBezTo>
                <a:cubicBezTo>
                  <a:pt x="30861" y="2986"/>
                  <a:pt x="30903" y="3006"/>
                  <a:pt x="30942" y="3060"/>
                </a:cubicBezTo>
                <a:cubicBezTo>
                  <a:pt x="30949" y="3075"/>
                  <a:pt x="30967" y="3081"/>
                  <a:pt x="30992" y="3081"/>
                </a:cubicBezTo>
                <a:cubicBezTo>
                  <a:pt x="31097" y="3081"/>
                  <a:pt x="31331" y="2976"/>
                  <a:pt x="31516" y="2945"/>
                </a:cubicBezTo>
                <a:cubicBezTo>
                  <a:pt x="31439" y="2831"/>
                  <a:pt x="31401" y="2754"/>
                  <a:pt x="31324" y="2678"/>
                </a:cubicBezTo>
                <a:cubicBezTo>
                  <a:pt x="31363" y="2640"/>
                  <a:pt x="31401" y="2640"/>
                  <a:pt x="31401" y="2601"/>
                </a:cubicBezTo>
                <a:cubicBezTo>
                  <a:pt x="31424" y="2590"/>
                  <a:pt x="31446" y="2585"/>
                  <a:pt x="31467" y="2585"/>
                </a:cubicBezTo>
                <a:cubicBezTo>
                  <a:pt x="31603" y="2585"/>
                  <a:pt x="31703" y="2795"/>
                  <a:pt x="31853" y="2795"/>
                </a:cubicBezTo>
                <a:cubicBezTo>
                  <a:pt x="31910" y="2795"/>
                  <a:pt x="31974" y="2764"/>
                  <a:pt x="32051" y="2678"/>
                </a:cubicBezTo>
                <a:cubicBezTo>
                  <a:pt x="32166" y="2525"/>
                  <a:pt x="32701" y="2640"/>
                  <a:pt x="32739" y="2525"/>
                </a:cubicBezTo>
                <a:cubicBezTo>
                  <a:pt x="32854" y="2219"/>
                  <a:pt x="33122" y="2219"/>
                  <a:pt x="33313" y="2181"/>
                </a:cubicBezTo>
                <a:cubicBezTo>
                  <a:pt x="33429" y="2157"/>
                  <a:pt x="33558" y="2079"/>
                  <a:pt x="33676" y="2079"/>
                </a:cubicBezTo>
                <a:cubicBezTo>
                  <a:pt x="33753" y="2079"/>
                  <a:pt x="33826" y="2113"/>
                  <a:pt x="33887" y="2219"/>
                </a:cubicBezTo>
                <a:cubicBezTo>
                  <a:pt x="34002" y="2104"/>
                  <a:pt x="34078" y="1989"/>
                  <a:pt x="34193" y="1836"/>
                </a:cubicBezTo>
                <a:cubicBezTo>
                  <a:pt x="34307" y="1951"/>
                  <a:pt x="34422" y="2066"/>
                  <a:pt x="34499" y="2181"/>
                </a:cubicBezTo>
                <a:cubicBezTo>
                  <a:pt x="34819" y="1988"/>
                  <a:pt x="35032" y="1903"/>
                  <a:pt x="35408" y="1903"/>
                </a:cubicBezTo>
                <a:cubicBezTo>
                  <a:pt x="35480" y="1903"/>
                  <a:pt x="35559" y="1907"/>
                  <a:pt x="35646" y="1913"/>
                </a:cubicBezTo>
                <a:cubicBezTo>
                  <a:pt x="35723" y="1760"/>
                  <a:pt x="35799" y="1530"/>
                  <a:pt x="35914" y="1416"/>
                </a:cubicBezTo>
                <a:cubicBezTo>
                  <a:pt x="35928" y="1408"/>
                  <a:pt x="35947" y="1405"/>
                  <a:pt x="35969" y="1405"/>
                </a:cubicBezTo>
                <a:cubicBezTo>
                  <a:pt x="36061" y="1405"/>
                  <a:pt x="36203" y="1461"/>
                  <a:pt x="36296" y="1492"/>
                </a:cubicBezTo>
                <a:cubicBezTo>
                  <a:pt x="36530" y="1542"/>
                  <a:pt x="36764" y="1570"/>
                  <a:pt x="36994" y="1570"/>
                </a:cubicBezTo>
                <a:cubicBezTo>
                  <a:pt x="37292" y="1570"/>
                  <a:pt x="37584" y="1523"/>
                  <a:pt x="37864" y="1416"/>
                </a:cubicBezTo>
                <a:cubicBezTo>
                  <a:pt x="37864" y="1416"/>
                  <a:pt x="37864" y="1301"/>
                  <a:pt x="37826" y="1186"/>
                </a:cubicBezTo>
                <a:lnTo>
                  <a:pt x="37826" y="1186"/>
                </a:lnTo>
                <a:cubicBezTo>
                  <a:pt x="38094" y="1301"/>
                  <a:pt x="38323" y="1377"/>
                  <a:pt x="38553" y="1492"/>
                </a:cubicBezTo>
                <a:cubicBezTo>
                  <a:pt x="38668" y="1339"/>
                  <a:pt x="38821" y="1186"/>
                  <a:pt x="38974" y="1071"/>
                </a:cubicBezTo>
                <a:cubicBezTo>
                  <a:pt x="38991" y="1063"/>
                  <a:pt x="39009" y="1059"/>
                  <a:pt x="39028" y="1059"/>
                </a:cubicBezTo>
                <a:cubicBezTo>
                  <a:pt x="39131" y="1059"/>
                  <a:pt x="39248" y="1174"/>
                  <a:pt x="39369" y="1174"/>
                </a:cubicBezTo>
                <a:cubicBezTo>
                  <a:pt x="39415" y="1174"/>
                  <a:pt x="39462" y="1157"/>
                  <a:pt x="39509" y="1110"/>
                </a:cubicBezTo>
                <a:cubicBezTo>
                  <a:pt x="39581" y="1205"/>
                  <a:pt x="39656" y="1238"/>
                  <a:pt x="39733" y="1238"/>
                </a:cubicBezTo>
                <a:cubicBezTo>
                  <a:pt x="39889" y="1238"/>
                  <a:pt x="40050" y="1107"/>
                  <a:pt x="40198" y="1107"/>
                </a:cubicBezTo>
                <a:cubicBezTo>
                  <a:pt x="40211" y="1107"/>
                  <a:pt x="40223" y="1108"/>
                  <a:pt x="40236" y="1110"/>
                </a:cubicBezTo>
                <a:cubicBezTo>
                  <a:pt x="40248" y="1113"/>
                  <a:pt x="40260" y="1114"/>
                  <a:pt x="40272" y="1114"/>
                </a:cubicBezTo>
                <a:cubicBezTo>
                  <a:pt x="40367" y="1114"/>
                  <a:pt x="40463" y="1033"/>
                  <a:pt x="40569" y="1033"/>
                </a:cubicBezTo>
                <a:cubicBezTo>
                  <a:pt x="40621" y="1033"/>
                  <a:pt x="40675" y="1052"/>
                  <a:pt x="40733" y="1110"/>
                </a:cubicBezTo>
                <a:cubicBezTo>
                  <a:pt x="40771" y="1148"/>
                  <a:pt x="40886" y="1148"/>
                  <a:pt x="40924" y="1148"/>
                </a:cubicBezTo>
                <a:cubicBezTo>
                  <a:pt x="41062" y="1087"/>
                  <a:pt x="41144" y="1050"/>
                  <a:pt x="41199" y="1050"/>
                </a:cubicBezTo>
                <a:cubicBezTo>
                  <a:pt x="41281" y="1050"/>
                  <a:pt x="41299" y="1133"/>
                  <a:pt x="41345" y="1339"/>
                </a:cubicBezTo>
                <a:cubicBezTo>
                  <a:pt x="41421" y="1224"/>
                  <a:pt x="41459" y="1110"/>
                  <a:pt x="41498" y="1033"/>
                </a:cubicBezTo>
                <a:lnTo>
                  <a:pt x="42377" y="1033"/>
                </a:lnTo>
                <a:cubicBezTo>
                  <a:pt x="42512" y="1033"/>
                  <a:pt x="42634" y="967"/>
                  <a:pt x="42758" y="967"/>
                </a:cubicBezTo>
                <a:cubicBezTo>
                  <a:pt x="42845" y="967"/>
                  <a:pt x="42933" y="999"/>
                  <a:pt x="43028" y="1110"/>
                </a:cubicBezTo>
                <a:cubicBezTo>
                  <a:pt x="43028" y="1121"/>
                  <a:pt x="43041" y="1126"/>
                  <a:pt x="43061" y="1126"/>
                </a:cubicBezTo>
                <a:cubicBezTo>
                  <a:pt x="43111" y="1126"/>
                  <a:pt x="43203" y="1098"/>
                  <a:pt x="43257" y="1071"/>
                </a:cubicBezTo>
                <a:cubicBezTo>
                  <a:pt x="43503" y="969"/>
                  <a:pt x="43737" y="889"/>
                  <a:pt x="43966" y="889"/>
                </a:cubicBezTo>
                <a:close/>
                <a:moveTo>
                  <a:pt x="41918" y="1"/>
                </a:moveTo>
                <a:cubicBezTo>
                  <a:pt x="41714" y="182"/>
                  <a:pt x="41469" y="229"/>
                  <a:pt x="41223" y="229"/>
                </a:cubicBezTo>
                <a:cubicBezTo>
                  <a:pt x="41056" y="229"/>
                  <a:pt x="40888" y="207"/>
                  <a:pt x="40733" y="192"/>
                </a:cubicBezTo>
                <a:cubicBezTo>
                  <a:pt x="40696" y="190"/>
                  <a:pt x="40659" y="189"/>
                  <a:pt x="40622" y="189"/>
                </a:cubicBezTo>
                <a:cubicBezTo>
                  <a:pt x="40095" y="189"/>
                  <a:pt x="39568" y="364"/>
                  <a:pt x="39041" y="364"/>
                </a:cubicBezTo>
                <a:cubicBezTo>
                  <a:pt x="38840" y="364"/>
                  <a:pt x="38639" y="339"/>
                  <a:pt x="38438" y="268"/>
                </a:cubicBezTo>
                <a:cubicBezTo>
                  <a:pt x="37750" y="612"/>
                  <a:pt x="36946" y="383"/>
                  <a:pt x="36258" y="727"/>
                </a:cubicBezTo>
                <a:lnTo>
                  <a:pt x="36143" y="727"/>
                </a:lnTo>
                <a:cubicBezTo>
                  <a:pt x="36055" y="693"/>
                  <a:pt x="35969" y="680"/>
                  <a:pt x="35885" y="680"/>
                </a:cubicBezTo>
                <a:cubicBezTo>
                  <a:pt x="35565" y="680"/>
                  <a:pt x="35271" y="874"/>
                  <a:pt x="34967" y="874"/>
                </a:cubicBezTo>
                <a:cubicBezTo>
                  <a:pt x="34901" y="874"/>
                  <a:pt x="34834" y="864"/>
                  <a:pt x="34766" y="842"/>
                </a:cubicBezTo>
                <a:cubicBezTo>
                  <a:pt x="34231" y="1301"/>
                  <a:pt x="33543" y="1110"/>
                  <a:pt x="32969" y="1377"/>
                </a:cubicBezTo>
                <a:cubicBezTo>
                  <a:pt x="32548" y="1569"/>
                  <a:pt x="32089" y="1569"/>
                  <a:pt x="31707" y="1722"/>
                </a:cubicBezTo>
                <a:cubicBezTo>
                  <a:pt x="31248" y="1875"/>
                  <a:pt x="30789" y="1875"/>
                  <a:pt x="30406" y="2219"/>
                </a:cubicBezTo>
                <a:cubicBezTo>
                  <a:pt x="30292" y="2334"/>
                  <a:pt x="30024" y="2334"/>
                  <a:pt x="29794" y="2334"/>
                </a:cubicBezTo>
                <a:cubicBezTo>
                  <a:pt x="29603" y="2334"/>
                  <a:pt x="29489" y="2334"/>
                  <a:pt x="29374" y="2487"/>
                </a:cubicBezTo>
                <a:cubicBezTo>
                  <a:pt x="29221" y="2640"/>
                  <a:pt x="29030" y="2716"/>
                  <a:pt x="28838" y="2831"/>
                </a:cubicBezTo>
                <a:cubicBezTo>
                  <a:pt x="28800" y="2754"/>
                  <a:pt x="28724" y="2678"/>
                  <a:pt x="28724" y="2640"/>
                </a:cubicBezTo>
                <a:cubicBezTo>
                  <a:pt x="28699" y="2635"/>
                  <a:pt x="28676" y="2634"/>
                  <a:pt x="28654" y="2634"/>
                </a:cubicBezTo>
                <a:cubicBezTo>
                  <a:pt x="28316" y="2634"/>
                  <a:pt x="28197" y="3069"/>
                  <a:pt x="27882" y="3069"/>
                </a:cubicBezTo>
                <a:cubicBezTo>
                  <a:pt x="27825" y="3069"/>
                  <a:pt x="27763" y="3055"/>
                  <a:pt x="27691" y="3022"/>
                </a:cubicBezTo>
                <a:cubicBezTo>
                  <a:pt x="27538" y="3175"/>
                  <a:pt x="27385" y="3328"/>
                  <a:pt x="27232" y="3519"/>
                </a:cubicBezTo>
                <a:cubicBezTo>
                  <a:pt x="27116" y="3475"/>
                  <a:pt x="27008" y="3455"/>
                  <a:pt x="26908" y="3455"/>
                </a:cubicBezTo>
                <a:cubicBezTo>
                  <a:pt x="26576" y="3455"/>
                  <a:pt x="26319" y="3667"/>
                  <a:pt x="26085" y="3902"/>
                </a:cubicBezTo>
                <a:cubicBezTo>
                  <a:pt x="25932" y="4016"/>
                  <a:pt x="25779" y="4016"/>
                  <a:pt x="25664" y="4093"/>
                </a:cubicBezTo>
                <a:cubicBezTo>
                  <a:pt x="25511" y="4208"/>
                  <a:pt x="25320" y="4399"/>
                  <a:pt x="25167" y="4399"/>
                </a:cubicBezTo>
                <a:cubicBezTo>
                  <a:pt x="25142" y="4396"/>
                  <a:pt x="25117" y="4395"/>
                  <a:pt x="25094" y="4395"/>
                </a:cubicBezTo>
                <a:cubicBezTo>
                  <a:pt x="24754" y="4395"/>
                  <a:pt x="24537" y="4638"/>
                  <a:pt x="24287" y="4781"/>
                </a:cubicBezTo>
                <a:cubicBezTo>
                  <a:pt x="24058" y="4896"/>
                  <a:pt x="23866" y="5087"/>
                  <a:pt x="23637" y="5202"/>
                </a:cubicBezTo>
                <a:cubicBezTo>
                  <a:pt x="23369" y="5355"/>
                  <a:pt x="23140" y="5508"/>
                  <a:pt x="22872" y="5623"/>
                </a:cubicBezTo>
                <a:cubicBezTo>
                  <a:pt x="22757" y="5661"/>
                  <a:pt x="22681" y="5776"/>
                  <a:pt x="22642" y="5890"/>
                </a:cubicBezTo>
                <a:cubicBezTo>
                  <a:pt x="22609" y="5981"/>
                  <a:pt x="22582" y="6011"/>
                  <a:pt x="22558" y="6011"/>
                </a:cubicBezTo>
                <a:cubicBezTo>
                  <a:pt x="22509" y="6011"/>
                  <a:pt x="22477" y="5880"/>
                  <a:pt x="22434" y="5880"/>
                </a:cubicBezTo>
                <a:cubicBezTo>
                  <a:pt x="22427" y="5880"/>
                  <a:pt x="22420" y="5883"/>
                  <a:pt x="22413" y="5890"/>
                </a:cubicBezTo>
                <a:cubicBezTo>
                  <a:pt x="22337" y="5929"/>
                  <a:pt x="22337" y="6082"/>
                  <a:pt x="22260" y="6120"/>
                </a:cubicBezTo>
                <a:cubicBezTo>
                  <a:pt x="22145" y="6158"/>
                  <a:pt x="22031" y="6158"/>
                  <a:pt x="21916" y="6196"/>
                </a:cubicBezTo>
                <a:cubicBezTo>
                  <a:pt x="21801" y="6235"/>
                  <a:pt x="21686" y="6273"/>
                  <a:pt x="21648" y="6349"/>
                </a:cubicBezTo>
                <a:cubicBezTo>
                  <a:pt x="21342" y="6923"/>
                  <a:pt x="20807" y="7114"/>
                  <a:pt x="20271" y="7344"/>
                </a:cubicBezTo>
                <a:cubicBezTo>
                  <a:pt x="20195" y="7382"/>
                  <a:pt x="20080" y="7420"/>
                  <a:pt x="20004" y="7420"/>
                </a:cubicBezTo>
                <a:cubicBezTo>
                  <a:pt x="20118" y="7803"/>
                  <a:pt x="19736" y="7726"/>
                  <a:pt x="19583" y="7879"/>
                </a:cubicBezTo>
                <a:cubicBezTo>
                  <a:pt x="19468" y="8032"/>
                  <a:pt x="19162" y="8032"/>
                  <a:pt x="18971" y="8147"/>
                </a:cubicBezTo>
                <a:cubicBezTo>
                  <a:pt x="18818" y="8223"/>
                  <a:pt x="18627" y="8300"/>
                  <a:pt x="18550" y="8415"/>
                </a:cubicBezTo>
                <a:cubicBezTo>
                  <a:pt x="18359" y="8874"/>
                  <a:pt x="17747" y="8835"/>
                  <a:pt x="17632" y="9333"/>
                </a:cubicBezTo>
                <a:cubicBezTo>
                  <a:pt x="17250" y="9333"/>
                  <a:pt x="17059" y="9639"/>
                  <a:pt x="16791" y="9830"/>
                </a:cubicBezTo>
                <a:cubicBezTo>
                  <a:pt x="16561" y="10021"/>
                  <a:pt x="16294" y="10212"/>
                  <a:pt x="16026" y="10403"/>
                </a:cubicBezTo>
                <a:cubicBezTo>
                  <a:pt x="16179" y="10862"/>
                  <a:pt x="15682" y="10824"/>
                  <a:pt x="15529" y="11092"/>
                </a:cubicBezTo>
                <a:cubicBezTo>
                  <a:pt x="15452" y="11283"/>
                  <a:pt x="15185" y="11321"/>
                  <a:pt x="15032" y="11474"/>
                </a:cubicBezTo>
                <a:cubicBezTo>
                  <a:pt x="14879" y="11666"/>
                  <a:pt x="14764" y="11895"/>
                  <a:pt x="14611" y="12086"/>
                </a:cubicBezTo>
                <a:cubicBezTo>
                  <a:pt x="14534" y="12125"/>
                  <a:pt x="14381" y="12086"/>
                  <a:pt x="14305" y="12163"/>
                </a:cubicBezTo>
                <a:cubicBezTo>
                  <a:pt x="14037" y="12354"/>
                  <a:pt x="13769" y="12545"/>
                  <a:pt x="13578" y="12813"/>
                </a:cubicBezTo>
                <a:cubicBezTo>
                  <a:pt x="13540" y="12851"/>
                  <a:pt x="13616" y="13119"/>
                  <a:pt x="13463" y="13119"/>
                </a:cubicBezTo>
                <a:cubicBezTo>
                  <a:pt x="13119" y="13157"/>
                  <a:pt x="13463" y="13387"/>
                  <a:pt x="13310" y="13463"/>
                </a:cubicBezTo>
                <a:cubicBezTo>
                  <a:pt x="13157" y="13540"/>
                  <a:pt x="12966" y="13654"/>
                  <a:pt x="12852" y="13769"/>
                </a:cubicBezTo>
                <a:cubicBezTo>
                  <a:pt x="12622" y="14228"/>
                  <a:pt x="12201" y="14458"/>
                  <a:pt x="11857" y="14764"/>
                </a:cubicBezTo>
                <a:cubicBezTo>
                  <a:pt x="11551" y="15069"/>
                  <a:pt x="11130" y="15299"/>
                  <a:pt x="11092" y="15834"/>
                </a:cubicBezTo>
                <a:cubicBezTo>
                  <a:pt x="11092" y="15949"/>
                  <a:pt x="10901" y="16064"/>
                  <a:pt x="10786" y="16140"/>
                </a:cubicBezTo>
                <a:cubicBezTo>
                  <a:pt x="10289" y="16446"/>
                  <a:pt x="9830" y="16791"/>
                  <a:pt x="9715" y="17441"/>
                </a:cubicBezTo>
                <a:cubicBezTo>
                  <a:pt x="9715" y="17594"/>
                  <a:pt x="9562" y="17747"/>
                  <a:pt x="9448" y="17861"/>
                </a:cubicBezTo>
                <a:cubicBezTo>
                  <a:pt x="9256" y="18014"/>
                  <a:pt x="9180" y="18167"/>
                  <a:pt x="9103" y="18397"/>
                </a:cubicBezTo>
                <a:cubicBezTo>
                  <a:pt x="9027" y="18779"/>
                  <a:pt x="8606" y="18894"/>
                  <a:pt x="8377" y="19124"/>
                </a:cubicBezTo>
                <a:cubicBezTo>
                  <a:pt x="8185" y="19391"/>
                  <a:pt x="8338" y="19850"/>
                  <a:pt x="7994" y="20080"/>
                </a:cubicBezTo>
                <a:cubicBezTo>
                  <a:pt x="7574" y="20347"/>
                  <a:pt x="7650" y="20998"/>
                  <a:pt x="7153" y="21151"/>
                </a:cubicBezTo>
                <a:cubicBezTo>
                  <a:pt x="7115" y="21571"/>
                  <a:pt x="6847" y="21839"/>
                  <a:pt x="6541" y="22145"/>
                </a:cubicBezTo>
                <a:cubicBezTo>
                  <a:pt x="6464" y="22221"/>
                  <a:pt x="6464" y="22413"/>
                  <a:pt x="6426" y="22527"/>
                </a:cubicBezTo>
                <a:cubicBezTo>
                  <a:pt x="6388" y="22642"/>
                  <a:pt x="6311" y="22719"/>
                  <a:pt x="6273" y="22833"/>
                </a:cubicBezTo>
                <a:cubicBezTo>
                  <a:pt x="6158" y="22986"/>
                  <a:pt x="6082" y="23178"/>
                  <a:pt x="5967" y="23331"/>
                </a:cubicBezTo>
                <a:cubicBezTo>
                  <a:pt x="5852" y="23484"/>
                  <a:pt x="5852" y="23713"/>
                  <a:pt x="5585" y="23790"/>
                </a:cubicBezTo>
                <a:cubicBezTo>
                  <a:pt x="5355" y="23904"/>
                  <a:pt x="5241" y="24210"/>
                  <a:pt x="5126" y="24478"/>
                </a:cubicBezTo>
                <a:cubicBezTo>
                  <a:pt x="5011" y="24631"/>
                  <a:pt x="5049" y="24860"/>
                  <a:pt x="5011" y="25052"/>
                </a:cubicBezTo>
                <a:cubicBezTo>
                  <a:pt x="4935" y="25205"/>
                  <a:pt x="4743" y="25358"/>
                  <a:pt x="4782" y="25511"/>
                </a:cubicBezTo>
                <a:cubicBezTo>
                  <a:pt x="4820" y="25855"/>
                  <a:pt x="4476" y="25702"/>
                  <a:pt x="4399" y="25893"/>
                </a:cubicBezTo>
                <a:cubicBezTo>
                  <a:pt x="4361" y="25931"/>
                  <a:pt x="4323" y="26008"/>
                  <a:pt x="4323" y="26084"/>
                </a:cubicBezTo>
                <a:cubicBezTo>
                  <a:pt x="4476" y="26696"/>
                  <a:pt x="3749" y="27040"/>
                  <a:pt x="3902" y="27652"/>
                </a:cubicBezTo>
                <a:cubicBezTo>
                  <a:pt x="3902" y="27691"/>
                  <a:pt x="3864" y="27767"/>
                  <a:pt x="3825" y="27767"/>
                </a:cubicBezTo>
                <a:cubicBezTo>
                  <a:pt x="3596" y="27844"/>
                  <a:pt x="3596" y="28073"/>
                  <a:pt x="3519" y="28226"/>
                </a:cubicBezTo>
                <a:cubicBezTo>
                  <a:pt x="3099" y="28876"/>
                  <a:pt x="3022" y="29679"/>
                  <a:pt x="2487" y="30215"/>
                </a:cubicBezTo>
                <a:cubicBezTo>
                  <a:pt x="2640" y="30559"/>
                  <a:pt x="2296" y="30674"/>
                  <a:pt x="2181" y="30903"/>
                </a:cubicBezTo>
                <a:cubicBezTo>
                  <a:pt x="2104" y="31133"/>
                  <a:pt x="2066" y="31401"/>
                  <a:pt x="1990" y="31668"/>
                </a:cubicBezTo>
                <a:cubicBezTo>
                  <a:pt x="1913" y="31936"/>
                  <a:pt x="1760" y="32204"/>
                  <a:pt x="1645" y="32471"/>
                </a:cubicBezTo>
                <a:cubicBezTo>
                  <a:pt x="1990" y="32777"/>
                  <a:pt x="1645" y="32930"/>
                  <a:pt x="1492" y="33083"/>
                </a:cubicBezTo>
                <a:cubicBezTo>
                  <a:pt x="1492" y="33122"/>
                  <a:pt x="1492" y="33160"/>
                  <a:pt x="1492" y="33160"/>
                </a:cubicBezTo>
                <a:cubicBezTo>
                  <a:pt x="1607" y="33848"/>
                  <a:pt x="1148" y="34460"/>
                  <a:pt x="1148" y="35149"/>
                </a:cubicBezTo>
                <a:cubicBezTo>
                  <a:pt x="1148" y="35761"/>
                  <a:pt x="804" y="36411"/>
                  <a:pt x="766" y="37023"/>
                </a:cubicBezTo>
                <a:cubicBezTo>
                  <a:pt x="651" y="37864"/>
                  <a:pt x="536" y="38667"/>
                  <a:pt x="422" y="39509"/>
                </a:cubicBezTo>
                <a:cubicBezTo>
                  <a:pt x="307" y="40197"/>
                  <a:pt x="154" y="40886"/>
                  <a:pt x="192" y="41574"/>
                </a:cubicBezTo>
                <a:cubicBezTo>
                  <a:pt x="269" y="42530"/>
                  <a:pt x="116" y="43486"/>
                  <a:pt x="77" y="44404"/>
                </a:cubicBezTo>
                <a:cubicBezTo>
                  <a:pt x="1" y="45093"/>
                  <a:pt x="39" y="45781"/>
                  <a:pt x="77" y="46431"/>
                </a:cubicBezTo>
                <a:cubicBezTo>
                  <a:pt x="116" y="47158"/>
                  <a:pt x="116" y="47885"/>
                  <a:pt x="116" y="48611"/>
                </a:cubicBezTo>
                <a:cubicBezTo>
                  <a:pt x="154" y="49376"/>
                  <a:pt x="345" y="50103"/>
                  <a:pt x="422" y="50868"/>
                </a:cubicBezTo>
                <a:cubicBezTo>
                  <a:pt x="460" y="51174"/>
                  <a:pt x="498" y="51480"/>
                  <a:pt x="536" y="51786"/>
                </a:cubicBezTo>
                <a:cubicBezTo>
                  <a:pt x="575" y="52168"/>
                  <a:pt x="536" y="52589"/>
                  <a:pt x="689" y="52933"/>
                </a:cubicBezTo>
                <a:cubicBezTo>
                  <a:pt x="804" y="53239"/>
                  <a:pt x="919" y="53468"/>
                  <a:pt x="919" y="53813"/>
                </a:cubicBezTo>
                <a:cubicBezTo>
                  <a:pt x="881" y="54042"/>
                  <a:pt x="957" y="54272"/>
                  <a:pt x="1034" y="54463"/>
                </a:cubicBezTo>
                <a:cubicBezTo>
                  <a:pt x="1110" y="54578"/>
                  <a:pt x="1110" y="54692"/>
                  <a:pt x="1148" y="54845"/>
                </a:cubicBezTo>
                <a:cubicBezTo>
                  <a:pt x="1263" y="55343"/>
                  <a:pt x="1072" y="55916"/>
                  <a:pt x="1492" y="56375"/>
                </a:cubicBezTo>
                <a:cubicBezTo>
                  <a:pt x="1645" y="56566"/>
                  <a:pt x="1454" y="57025"/>
                  <a:pt x="1798" y="57217"/>
                </a:cubicBezTo>
                <a:cubicBezTo>
                  <a:pt x="1645" y="57523"/>
                  <a:pt x="1798" y="57714"/>
                  <a:pt x="1913" y="57982"/>
                </a:cubicBezTo>
                <a:cubicBezTo>
                  <a:pt x="2066" y="58440"/>
                  <a:pt x="2257" y="58861"/>
                  <a:pt x="2296" y="59358"/>
                </a:cubicBezTo>
                <a:cubicBezTo>
                  <a:pt x="2334" y="59473"/>
                  <a:pt x="2410" y="59588"/>
                  <a:pt x="2449" y="59703"/>
                </a:cubicBezTo>
                <a:cubicBezTo>
                  <a:pt x="2602" y="60123"/>
                  <a:pt x="2755" y="60506"/>
                  <a:pt x="2869" y="60926"/>
                </a:cubicBezTo>
                <a:cubicBezTo>
                  <a:pt x="3175" y="61997"/>
                  <a:pt x="3214" y="63145"/>
                  <a:pt x="3825" y="64101"/>
                </a:cubicBezTo>
                <a:cubicBezTo>
                  <a:pt x="3902" y="64216"/>
                  <a:pt x="4017" y="64369"/>
                  <a:pt x="3978" y="64445"/>
                </a:cubicBezTo>
                <a:cubicBezTo>
                  <a:pt x="3940" y="64789"/>
                  <a:pt x="4170" y="65019"/>
                  <a:pt x="4284" y="65287"/>
                </a:cubicBezTo>
                <a:cubicBezTo>
                  <a:pt x="4705" y="66090"/>
                  <a:pt x="5126" y="66855"/>
                  <a:pt x="5470" y="67658"/>
                </a:cubicBezTo>
                <a:cubicBezTo>
                  <a:pt x="5738" y="68346"/>
                  <a:pt x="6082" y="69035"/>
                  <a:pt x="6541" y="69647"/>
                </a:cubicBezTo>
                <a:cubicBezTo>
                  <a:pt x="6656" y="69800"/>
                  <a:pt x="6732" y="69991"/>
                  <a:pt x="6847" y="70182"/>
                </a:cubicBezTo>
                <a:cubicBezTo>
                  <a:pt x="7076" y="70641"/>
                  <a:pt x="7115" y="71253"/>
                  <a:pt x="7688" y="71521"/>
                </a:cubicBezTo>
                <a:cubicBezTo>
                  <a:pt x="7765" y="71559"/>
                  <a:pt x="7803" y="71712"/>
                  <a:pt x="7841" y="71788"/>
                </a:cubicBezTo>
                <a:cubicBezTo>
                  <a:pt x="8071" y="72324"/>
                  <a:pt x="8338" y="72859"/>
                  <a:pt x="8797" y="73242"/>
                </a:cubicBezTo>
                <a:cubicBezTo>
                  <a:pt x="9065" y="73433"/>
                  <a:pt x="9065" y="73662"/>
                  <a:pt x="8912" y="73892"/>
                </a:cubicBezTo>
                <a:cubicBezTo>
                  <a:pt x="9065" y="74007"/>
                  <a:pt x="9295" y="74083"/>
                  <a:pt x="9256" y="74121"/>
                </a:cubicBezTo>
                <a:cubicBezTo>
                  <a:pt x="9180" y="74504"/>
                  <a:pt x="9601" y="74580"/>
                  <a:pt x="9715" y="74848"/>
                </a:cubicBezTo>
                <a:cubicBezTo>
                  <a:pt x="9830" y="75116"/>
                  <a:pt x="10021" y="75345"/>
                  <a:pt x="10213" y="75575"/>
                </a:cubicBezTo>
                <a:cubicBezTo>
                  <a:pt x="10633" y="76034"/>
                  <a:pt x="11130" y="76493"/>
                  <a:pt x="11513" y="76990"/>
                </a:cubicBezTo>
                <a:cubicBezTo>
                  <a:pt x="12163" y="77869"/>
                  <a:pt x="13004" y="78558"/>
                  <a:pt x="13769" y="79361"/>
                </a:cubicBezTo>
                <a:cubicBezTo>
                  <a:pt x="13846" y="79438"/>
                  <a:pt x="13999" y="79514"/>
                  <a:pt x="14037" y="79629"/>
                </a:cubicBezTo>
                <a:cubicBezTo>
                  <a:pt x="14381" y="80164"/>
                  <a:pt x="14879" y="80508"/>
                  <a:pt x="15337" y="80929"/>
                </a:cubicBezTo>
                <a:cubicBezTo>
                  <a:pt x="15796" y="81426"/>
                  <a:pt x="16447" y="81694"/>
                  <a:pt x="16867" y="82230"/>
                </a:cubicBezTo>
                <a:cubicBezTo>
                  <a:pt x="16972" y="82369"/>
                  <a:pt x="17108" y="82540"/>
                  <a:pt x="17190" y="82540"/>
                </a:cubicBezTo>
                <a:cubicBezTo>
                  <a:pt x="17198" y="82540"/>
                  <a:pt x="17205" y="82539"/>
                  <a:pt x="17212" y="82535"/>
                </a:cubicBezTo>
                <a:cubicBezTo>
                  <a:pt x="17236" y="82531"/>
                  <a:pt x="17259" y="82529"/>
                  <a:pt x="17280" y="82529"/>
                </a:cubicBezTo>
                <a:cubicBezTo>
                  <a:pt x="17451" y="82529"/>
                  <a:pt x="17496" y="82658"/>
                  <a:pt x="17632" y="82727"/>
                </a:cubicBezTo>
                <a:cubicBezTo>
                  <a:pt x="17956" y="82979"/>
                  <a:pt x="18043" y="83536"/>
                  <a:pt x="18564" y="83536"/>
                </a:cubicBezTo>
                <a:cubicBezTo>
                  <a:pt x="18596" y="83536"/>
                  <a:pt x="18629" y="83534"/>
                  <a:pt x="18665" y="83530"/>
                </a:cubicBezTo>
                <a:cubicBezTo>
                  <a:pt x="19124" y="84295"/>
                  <a:pt x="20042" y="84486"/>
                  <a:pt x="20654" y="85098"/>
                </a:cubicBezTo>
                <a:cubicBezTo>
                  <a:pt x="21380" y="85174"/>
                  <a:pt x="21763" y="85978"/>
                  <a:pt x="22489" y="86054"/>
                </a:cubicBezTo>
                <a:cubicBezTo>
                  <a:pt x="22566" y="86054"/>
                  <a:pt x="22642" y="86131"/>
                  <a:pt x="22642" y="86207"/>
                </a:cubicBezTo>
                <a:cubicBezTo>
                  <a:pt x="22681" y="86590"/>
                  <a:pt x="22987" y="86590"/>
                  <a:pt x="23293" y="86743"/>
                </a:cubicBezTo>
                <a:cubicBezTo>
                  <a:pt x="23752" y="86934"/>
                  <a:pt x="24249" y="87125"/>
                  <a:pt x="24631" y="87469"/>
                </a:cubicBezTo>
                <a:cubicBezTo>
                  <a:pt x="24822" y="87660"/>
                  <a:pt x="25052" y="87775"/>
                  <a:pt x="25281" y="87890"/>
                </a:cubicBezTo>
                <a:cubicBezTo>
                  <a:pt x="25626" y="88005"/>
                  <a:pt x="25970" y="88119"/>
                  <a:pt x="26276" y="88234"/>
                </a:cubicBezTo>
                <a:cubicBezTo>
                  <a:pt x="26620" y="88387"/>
                  <a:pt x="27003" y="88502"/>
                  <a:pt x="27194" y="88770"/>
                </a:cubicBezTo>
                <a:cubicBezTo>
                  <a:pt x="27392" y="89018"/>
                  <a:pt x="27575" y="89121"/>
                  <a:pt x="27794" y="89121"/>
                </a:cubicBezTo>
                <a:cubicBezTo>
                  <a:pt x="27912" y="89121"/>
                  <a:pt x="28041" y="89091"/>
                  <a:pt x="28188" y="89037"/>
                </a:cubicBezTo>
                <a:cubicBezTo>
                  <a:pt x="28439" y="89395"/>
                  <a:pt x="28723" y="89653"/>
                  <a:pt x="29166" y="89653"/>
                </a:cubicBezTo>
                <a:cubicBezTo>
                  <a:pt x="29196" y="89653"/>
                  <a:pt x="29227" y="89652"/>
                  <a:pt x="29259" y="89649"/>
                </a:cubicBezTo>
                <a:cubicBezTo>
                  <a:pt x="29294" y="89642"/>
                  <a:pt x="29332" y="89639"/>
                  <a:pt x="29371" y="89639"/>
                </a:cubicBezTo>
                <a:cubicBezTo>
                  <a:pt x="29545" y="89639"/>
                  <a:pt x="29746" y="89702"/>
                  <a:pt x="29871" y="89764"/>
                </a:cubicBezTo>
                <a:cubicBezTo>
                  <a:pt x="30222" y="89956"/>
                  <a:pt x="30547" y="90174"/>
                  <a:pt x="30934" y="90174"/>
                </a:cubicBezTo>
                <a:cubicBezTo>
                  <a:pt x="31010" y="90174"/>
                  <a:pt x="31089" y="90165"/>
                  <a:pt x="31171" y="90146"/>
                </a:cubicBezTo>
                <a:cubicBezTo>
                  <a:pt x="31210" y="90146"/>
                  <a:pt x="31248" y="90223"/>
                  <a:pt x="31286" y="90261"/>
                </a:cubicBezTo>
                <a:cubicBezTo>
                  <a:pt x="31332" y="90399"/>
                  <a:pt x="31378" y="90468"/>
                  <a:pt x="31457" y="90468"/>
                </a:cubicBezTo>
                <a:cubicBezTo>
                  <a:pt x="31509" y="90468"/>
                  <a:pt x="31577" y="90437"/>
                  <a:pt x="31669" y="90376"/>
                </a:cubicBezTo>
                <a:cubicBezTo>
                  <a:pt x="31707" y="90338"/>
                  <a:pt x="31774" y="90328"/>
                  <a:pt x="31845" y="90328"/>
                </a:cubicBezTo>
                <a:cubicBezTo>
                  <a:pt x="31917" y="90328"/>
                  <a:pt x="31994" y="90338"/>
                  <a:pt x="32051" y="90338"/>
                </a:cubicBezTo>
                <a:cubicBezTo>
                  <a:pt x="31974" y="90491"/>
                  <a:pt x="32089" y="90567"/>
                  <a:pt x="32242" y="90567"/>
                </a:cubicBezTo>
                <a:cubicBezTo>
                  <a:pt x="32357" y="90605"/>
                  <a:pt x="32510" y="90605"/>
                  <a:pt x="32663" y="90605"/>
                </a:cubicBezTo>
                <a:cubicBezTo>
                  <a:pt x="32778" y="90605"/>
                  <a:pt x="32931" y="90605"/>
                  <a:pt x="33007" y="90644"/>
                </a:cubicBezTo>
                <a:cubicBezTo>
                  <a:pt x="33313" y="91064"/>
                  <a:pt x="33810" y="91026"/>
                  <a:pt x="34193" y="91179"/>
                </a:cubicBezTo>
                <a:cubicBezTo>
                  <a:pt x="35034" y="91562"/>
                  <a:pt x="35914" y="91676"/>
                  <a:pt x="36793" y="91829"/>
                </a:cubicBezTo>
                <a:cubicBezTo>
                  <a:pt x="37750" y="91944"/>
                  <a:pt x="38706" y="92059"/>
                  <a:pt x="39662" y="92212"/>
                </a:cubicBezTo>
                <a:cubicBezTo>
                  <a:pt x="39891" y="92250"/>
                  <a:pt x="40083" y="92326"/>
                  <a:pt x="40312" y="92365"/>
                </a:cubicBezTo>
                <a:cubicBezTo>
                  <a:pt x="40465" y="92403"/>
                  <a:pt x="40618" y="92479"/>
                  <a:pt x="40771" y="92479"/>
                </a:cubicBezTo>
                <a:cubicBezTo>
                  <a:pt x="40962" y="92468"/>
                  <a:pt x="41152" y="92464"/>
                  <a:pt x="41342" y="92464"/>
                </a:cubicBezTo>
                <a:cubicBezTo>
                  <a:pt x="41802" y="92464"/>
                  <a:pt x="42262" y="92491"/>
                  <a:pt x="42722" y="92518"/>
                </a:cubicBezTo>
                <a:cubicBezTo>
                  <a:pt x="43303" y="92518"/>
                  <a:pt x="43884" y="92616"/>
                  <a:pt x="44485" y="92616"/>
                </a:cubicBezTo>
                <a:cubicBezTo>
                  <a:pt x="44635" y="92616"/>
                  <a:pt x="44787" y="92609"/>
                  <a:pt x="44940" y="92594"/>
                </a:cubicBezTo>
                <a:cubicBezTo>
                  <a:pt x="45130" y="92570"/>
                  <a:pt x="45319" y="92561"/>
                  <a:pt x="45509" y="92561"/>
                </a:cubicBezTo>
                <a:cubicBezTo>
                  <a:pt x="45931" y="92561"/>
                  <a:pt x="46354" y="92606"/>
                  <a:pt x="46776" y="92632"/>
                </a:cubicBezTo>
                <a:cubicBezTo>
                  <a:pt x="47040" y="92649"/>
                  <a:pt x="47304" y="92673"/>
                  <a:pt x="47565" y="92673"/>
                </a:cubicBezTo>
                <a:cubicBezTo>
                  <a:pt x="47909" y="92673"/>
                  <a:pt x="48247" y="92632"/>
                  <a:pt x="48573" y="92479"/>
                </a:cubicBezTo>
                <a:cubicBezTo>
                  <a:pt x="48617" y="92450"/>
                  <a:pt x="48666" y="92438"/>
                  <a:pt x="48717" y="92438"/>
                </a:cubicBezTo>
                <a:cubicBezTo>
                  <a:pt x="48799" y="92438"/>
                  <a:pt x="48885" y="92470"/>
                  <a:pt x="48956" y="92518"/>
                </a:cubicBezTo>
                <a:cubicBezTo>
                  <a:pt x="49057" y="92575"/>
                  <a:pt x="49152" y="92595"/>
                  <a:pt x="49244" y="92595"/>
                </a:cubicBezTo>
                <a:cubicBezTo>
                  <a:pt x="49397" y="92595"/>
                  <a:pt x="49539" y="92542"/>
                  <a:pt x="49682" y="92518"/>
                </a:cubicBezTo>
                <a:cubicBezTo>
                  <a:pt x="49733" y="92505"/>
                  <a:pt x="49784" y="92501"/>
                  <a:pt x="49835" y="92501"/>
                </a:cubicBezTo>
                <a:cubicBezTo>
                  <a:pt x="49937" y="92501"/>
                  <a:pt x="50039" y="92518"/>
                  <a:pt x="50141" y="92518"/>
                </a:cubicBezTo>
                <a:cubicBezTo>
                  <a:pt x="50294" y="92518"/>
                  <a:pt x="50486" y="92518"/>
                  <a:pt x="50639" y="92441"/>
                </a:cubicBezTo>
                <a:cubicBezTo>
                  <a:pt x="50830" y="92326"/>
                  <a:pt x="50983" y="92326"/>
                  <a:pt x="51174" y="92326"/>
                </a:cubicBezTo>
                <a:cubicBezTo>
                  <a:pt x="51282" y="92335"/>
                  <a:pt x="51391" y="92340"/>
                  <a:pt x="51498" y="92340"/>
                </a:cubicBezTo>
                <a:cubicBezTo>
                  <a:pt x="51845" y="92340"/>
                  <a:pt x="52182" y="92290"/>
                  <a:pt x="52474" y="92173"/>
                </a:cubicBezTo>
                <a:cubicBezTo>
                  <a:pt x="52742" y="92097"/>
                  <a:pt x="53010" y="92135"/>
                  <a:pt x="53239" y="92020"/>
                </a:cubicBezTo>
                <a:cubicBezTo>
                  <a:pt x="53295" y="91988"/>
                  <a:pt x="53355" y="91978"/>
                  <a:pt x="53415" y="91978"/>
                </a:cubicBezTo>
                <a:cubicBezTo>
                  <a:pt x="53521" y="91978"/>
                  <a:pt x="53630" y="92010"/>
                  <a:pt x="53729" y="92010"/>
                </a:cubicBezTo>
                <a:cubicBezTo>
                  <a:pt x="53841" y="92010"/>
                  <a:pt x="53940" y="91968"/>
                  <a:pt x="54004" y="91791"/>
                </a:cubicBezTo>
                <a:cubicBezTo>
                  <a:pt x="54107" y="91871"/>
                  <a:pt x="54203" y="91900"/>
                  <a:pt x="54295" y="91900"/>
                </a:cubicBezTo>
                <a:cubicBezTo>
                  <a:pt x="54512" y="91900"/>
                  <a:pt x="54708" y="91741"/>
                  <a:pt x="54922" y="91715"/>
                </a:cubicBezTo>
                <a:cubicBezTo>
                  <a:pt x="55217" y="91685"/>
                  <a:pt x="55512" y="91450"/>
                  <a:pt x="55843" y="91450"/>
                </a:cubicBezTo>
                <a:cubicBezTo>
                  <a:pt x="55940" y="91450"/>
                  <a:pt x="56041" y="91471"/>
                  <a:pt x="56146" y="91523"/>
                </a:cubicBezTo>
                <a:cubicBezTo>
                  <a:pt x="56153" y="91531"/>
                  <a:pt x="56163" y="91534"/>
                  <a:pt x="56175" y="91534"/>
                </a:cubicBezTo>
                <a:cubicBezTo>
                  <a:pt x="56225" y="91534"/>
                  <a:pt x="56306" y="91478"/>
                  <a:pt x="56337" y="91447"/>
                </a:cubicBezTo>
                <a:cubicBezTo>
                  <a:pt x="56406" y="91309"/>
                  <a:pt x="56502" y="91282"/>
                  <a:pt x="56610" y="91282"/>
                </a:cubicBezTo>
                <a:cubicBezTo>
                  <a:pt x="56681" y="91282"/>
                  <a:pt x="56758" y="91294"/>
                  <a:pt x="56834" y="91294"/>
                </a:cubicBezTo>
                <a:cubicBezTo>
                  <a:pt x="57228" y="91261"/>
                  <a:pt x="57566" y="91003"/>
                  <a:pt x="57944" y="91003"/>
                </a:cubicBezTo>
                <a:cubicBezTo>
                  <a:pt x="58006" y="91003"/>
                  <a:pt x="58070" y="91010"/>
                  <a:pt x="58135" y="91026"/>
                </a:cubicBezTo>
                <a:cubicBezTo>
                  <a:pt x="58364" y="90682"/>
                  <a:pt x="58785" y="90797"/>
                  <a:pt x="59129" y="90720"/>
                </a:cubicBezTo>
                <a:cubicBezTo>
                  <a:pt x="59588" y="90605"/>
                  <a:pt x="60047" y="90567"/>
                  <a:pt x="60430" y="90261"/>
                </a:cubicBezTo>
                <a:cubicBezTo>
                  <a:pt x="60544" y="90146"/>
                  <a:pt x="60774" y="90146"/>
                  <a:pt x="60927" y="90108"/>
                </a:cubicBezTo>
                <a:cubicBezTo>
                  <a:pt x="61041" y="90070"/>
                  <a:pt x="61959" y="89840"/>
                  <a:pt x="61998" y="89764"/>
                </a:cubicBezTo>
                <a:cubicBezTo>
                  <a:pt x="62265" y="89496"/>
                  <a:pt x="62571" y="89534"/>
                  <a:pt x="62915" y="89458"/>
                </a:cubicBezTo>
                <a:cubicBezTo>
                  <a:pt x="63183" y="89382"/>
                  <a:pt x="63451" y="89152"/>
                  <a:pt x="63719" y="88999"/>
                </a:cubicBezTo>
                <a:cubicBezTo>
                  <a:pt x="63757" y="88961"/>
                  <a:pt x="63795" y="88961"/>
                  <a:pt x="63795" y="88961"/>
                </a:cubicBezTo>
                <a:cubicBezTo>
                  <a:pt x="63878" y="89032"/>
                  <a:pt x="63954" y="89059"/>
                  <a:pt x="64024" y="89059"/>
                </a:cubicBezTo>
                <a:cubicBezTo>
                  <a:pt x="64181" y="89059"/>
                  <a:pt x="64313" y="88925"/>
                  <a:pt x="64445" y="88846"/>
                </a:cubicBezTo>
                <a:cubicBezTo>
                  <a:pt x="64751" y="88693"/>
                  <a:pt x="65134" y="88655"/>
                  <a:pt x="65401" y="88349"/>
                </a:cubicBezTo>
                <a:cubicBezTo>
                  <a:pt x="65554" y="88196"/>
                  <a:pt x="65899" y="88234"/>
                  <a:pt x="66128" y="88158"/>
                </a:cubicBezTo>
                <a:cubicBezTo>
                  <a:pt x="66931" y="87890"/>
                  <a:pt x="67658" y="87431"/>
                  <a:pt x="68346" y="86934"/>
                </a:cubicBezTo>
                <a:cubicBezTo>
                  <a:pt x="68729" y="86666"/>
                  <a:pt x="69303" y="86628"/>
                  <a:pt x="69647" y="86169"/>
                </a:cubicBezTo>
                <a:cubicBezTo>
                  <a:pt x="69684" y="86178"/>
                  <a:pt x="69719" y="86182"/>
                  <a:pt x="69753" y="86182"/>
                </a:cubicBezTo>
                <a:cubicBezTo>
                  <a:pt x="69999" y="86182"/>
                  <a:pt x="70167" y="85959"/>
                  <a:pt x="70335" y="85825"/>
                </a:cubicBezTo>
                <a:cubicBezTo>
                  <a:pt x="70641" y="85595"/>
                  <a:pt x="70871" y="85289"/>
                  <a:pt x="71215" y="85098"/>
                </a:cubicBezTo>
                <a:cubicBezTo>
                  <a:pt x="71597" y="84868"/>
                  <a:pt x="71942" y="84563"/>
                  <a:pt x="72248" y="84257"/>
                </a:cubicBezTo>
                <a:cubicBezTo>
                  <a:pt x="72439" y="84027"/>
                  <a:pt x="72668" y="83798"/>
                  <a:pt x="73012" y="83798"/>
                </a:cubicBezTo>
                <a:cubicBezTo>
                  <a:pt x="73051" y="83798"/>
                  <a:pt x="73165" y="83759"/>
                  <a:pt x="73165" y="83721"/>
                </a:cubicBezTo>
                <a:cubicBezTo>
                  <a:pt x="73280" y="83339"/>
                  <a:pt x="73739" y="83415"/>
                  <a:pt x="73854" y="83109"/>
                </a:cubicBezTo>
                <a:cubicBezTo>
                  <a:pt x="74007" y="82765"/>
                  <a:pt x="74313" y="82650"/>
                  <a:pt x="74619" y="82650"/>
                </a:cubicBezTo>
                <a:cubicBezTo>
                  <a:pt x="74695" y="82650"/>
                  <a:pt x="74733" y="82535"/>
                  <a:pt x="74772" y="82459"/>
                </a:cubicBezTo>
                <a:cubicBezTo>
                  <a:pt x="74810" y="82306"/>
                  <a:pt x="74886" y="82268"/>
                  <a:pt x="75078" y="82230"/>
                </a:cubicBezTo>
                <a:cubicBezTo>
                  <a:pt x="75269" y="82191"/>
                  <a:pt x="75498" y="82000"/>
                  <a:pt x="75575" y="81809"/>
                </a:cubicBezTo>
                <a:cubicBezTo>
                  <a:pt x="75996" y="81197"/>
                  <a:pt x="76608" y="80738"/>
                  <a:pt x="77066" y="80164"/>
                </a:cubicBezTo>
                <a:cubicBezTo>
                  <a:pt x="77793" y="79285"/>
                  <a:pt x="78596" y="78520"/>
                  <a:pt x="79208" y="77563"/>
                </a:cubicBezTo>
                <a:cubicBezTo>
                  <a:pt x="79285" y="77487"/>
                  <a:pt x="79361" y="77411"/>
                  <a:pt x="79400" y="77334"/>
                </a:cubicBezTo>
                <a:cubicBezTo>
                  <a:pt x="79935" y="76875"/>
                  <a:pt x="80432" y="76378"/>
                  <a:pt x="80968" y="75881"/>
                </a:cubicBezTo>
                <a:cubicBezTo>
                  <a:pt x="81006" y="75842"/>
                  <a:pt x="81082" y="75766"/>
                  <a:pt x="81082" y="75689"/>
                </a:cubicBezTo>
                <a:cubicBezTo>
                  <a:pt x="81235" y="75116"/>
                  <a:pt x="81847" y="74810"/>
                  <a:pt x="81962" y="74198"/>
                </a:cubicBezTo>
                <a:cubicBezTo>
                  <a:pt x="82306" y="74045"/>
                  <a:pt x="82421" y="73624"/>
                  <a:pt x="82689" y="73509"/>
                </a:cubicBezTo>
                <a:cubicBezTo>
                  <a:pt x="83071" y="73356"/>
                  <a:pt x="82650" y="73165"/>
                  <a:pt x="82803" y="73050"/>
                </a:cubicBezTo>
                <a:cubicBezTo>
                  <a:pt x="83148" y="72859"/>
                  <a:pt x="83301" y="72553"/>
                  <a:pt x="83530" y="72247"/>
                </a:cubicBezTo>
                <a:cubicBezTo>
                  <a:pt x="84066" y="71482"/>
                  <a:pt x="84601" y="70756"/>
                  <a:pt x="84869" y="69876"/>
                </a:cubicBezTo>
                <a:cubicBezTo>
                  <a:pt x="84907" y="69723"/>
                  <a:pt x="84945" y="69570"/>
                  <a:pt x="85060" y="69455"/>
                </a:cubicBezTo>
                <a:cubicBezTo>
                  <a:pt x="85328" y="69035"/>
                  <a:pt x="85787" y="68614"/>
                  <a:pt x="85748" y="68078"/>
                </a:cubicBezTo>
                <a:cubicBezTo>
                  <a:pt x="85710" y="67505"/>
                  <a:pt x="86246" y="67237"/>
                  <a:pt x="86399" y="66778"/>
                </a:cubicBezTo>
                <a:cubicBezTo>
                  <a:pt x="86437" y="66625"/>
                  <a:pt x="86628" y="66549"/>
                  <a:pt x="86628" y="66434"/>
                </a:cubicBezTo>
                <a:cubicBezTo>
                  <a:pt x="86590" y="66013"/>
                  <a:pt x="86704" y="65669"/>
                  <a:pt x="86972" y="65325"/>
                </a:cubicBezTo>
                <a:cubicBezTo>
                  <a:pt x="86704" y="64828"/>
                  <a:pt x="87278" y="64675"/>
                  <a:pt x="87393" y="64330"/>
                </a:cubicBezTo>
                <a:cubicBezTo>
                  <a:pt x="87431" y="64254"/>
                  <a:pt x="87508" y="64177"/>
                  <a:pt x="87469" y="64101"/>
                </a:cubicBezTo>
                <a:cubicBezTo>
                  <a:pt x="87393" y="63795"/>
                  <a:pt x="87775" y="63718"/>
                  <a:pt x="87737" y="63374"/>
                </a:cubicBezTo>
                <a:cubicBezTo>
                  <a:pt x="87699" y="63183"/>
                  <a:pt x="87967" y="62915"/>
                  <a:pt x="88120" y="62686"/>
                </a:cubicBezTo>
                <a:cubicBezTo>
                  <a:pt x="88120" y="62648"/>
                  <a:pt x="88196" y="62609"/>
                  <a:pt x="88196" y="62571"/>
                </a:cubicBezTo>
                <a:cubicBezTo>
                  <a:pt x="88158" y="62074"/>
                  <a:pt x="88464" y="61691"/>
                  <a:pt x="88540" y="61271"/>
                </a:cubicBezTo>
                <a:cubicBezTo>
                  <a:pt x="88579" y="60812"/>
                  <a:pt x="89076" y="60506"/>
                  <a:pt x="88923" y="60009"/>
                </a:cubicBezTo>
                <a:cubicBezTo>
                  <a:pt x="89267" y="59817"/>
                  <a:pt x="89037" y="59473"/>
                  <a:pt x="89190" y="59205"/>
                </a:cubicBezTo>
                <a:cubicBezTo>
                  <a:pt x="89343" y="58976"/>
                  <a:pt x="89267" y="58555"/>
                  <a:pt x="89458" y="58479"/>
                </a:cubicBezTo>
                <a:cubicBezTo>
                  <a:pt x="89764" y="58249"/>
                  <a:pt x="89535" y="57982"/>
                  <a:pt x="89649" y="57752"/>
                </a:cubicBezTo>
                <a:cubicBezTo>
                  <a:pt x="89841" y="57408"/>
                  <a:pt x="89955" y="56987"/>
                  <a:pt x="90032" y="56605"/>
                </a:cubicBezTo>
                <a:cubicBezTo>
                  <a:pt x="90108" y="56222"/>
                  <a:pt x="90376" y="55916"/>
                  <a:pt x="90376" y="55534"/>
                </a:cubicBezTo>
                <a:cubicBezTo>
                  <a:pt x="90414" y="55228"/>
                  <a:pt x="90414" y="54960"/>
                  <a:pt x="90414" y="54692"/>
                </a:cubicBezTo>
                <a:cubicBezTo>
                  <a:pt x="90453" y="54386"/>
                  <a:pt x="90414" y="54080"/>
                  <a:pt x="90529" y="53851"/>
                </a:cubicBezTo>
                <a:cubicBezTo>
                  <a:pt x="90682" y="53545"/>
                  <a:pt x="90414" y="53354"/>
                  <a:pt x="90491" y="53086"/>
                </a:cubicBezTo>
                <a:cubicBezTo>
                  <a:pt x="90567" y="52895"/>
                  <a:pt x="90567" y="52704"/>
                  <a:pt x="90606" y="52512"/>
                </a:cubicBezTo>
                <a:cubicBezTo>
                  <a:pt x="90682" y="52092"/>
                  <a:pt x="90835" y="51671"/>
                  <a:pt x="90797" y="51288"/>
                </a:cubicBezTo>
                <a:cubicBezTo>
                  <a:pt x="90797" y="50982"/>
                  <a:pt x="90835" y="50715"/>
                  <a:pt x="91103" y="50562"/>
                </a:cubicBezTo>
                <a:cubicBezTo>
                  <a:pt x="90950" y="50447"/>
                  <a:pt x="90797" y="50332"/>
                  <a:pt x="90720" y="50294"/>
                </a:cubicBezTo>
                <a:cubicBezTo>
                  <a:pt x="90873" y="50065"/>
                  <a:pt x="90988" y="49835"/>
                  <a:pt x="91103" y="49644"/>
                </a:cubicBezTo>
                <a:cubicBezTo>
                  <a:pt x="90950" y="49567"/>
                  <a:pt x="90835" y="49491"/>
                  <a:pt x="90720" y="49453"/>
                </a:cubicBezTo>
                <a:cubicBezTo>
                  <a:pt x="91103" y="49147"/>
                  <a:pt x="91141" y="49070"/>
                  <a:pt x="91065" y="48802"/>
                </a:cubicBezTo>
                <a:cubicBezTo>
                  <a:pt x="90988" y="48458"/>
                  <a:pt x="91065" y="47732"/>
                  <a:pt x="91256" y="47387"/>
                </a:cubicBezTo>
                <a:cubicBezTo>
                  <a:pt x="91141" y="47387"/>
                  <a:pt x="91026" y="47349"/>
                  <a:pt x="90912" y="47349"/>
                </a:cubicBezTo>
                <a:cubicBezTo>
                  <a:pt x="90759" y="46967"/>
                  <a:pt x="90950" y="46699"/>
                  <a:pt x="91179" y="46469"/>
                </a:cubicBezTo>
                <a:cubicBezTo>
                  <a:pt x="91026" y="46393"/>
                  <a:pt x="90912" y="46316"/>
                  <a:pt x="90835" y="46278"/>
                </a:cubicBezTo>
                <a:cubicBezTo>
                  <a:pt x="90988" y="45972"/>
                  <a:pt x="91256" y="45743"/>
                  <a:pt x="91294" y="45360"/>
                </a:cubicBezTo>
                <a:cubicBezTo>
                  <a:pt x="91179" y="45360"/>
                  <a:pt x="91065" y="45360"/>
                  <a:pt x="90873" y="45399"/>
                </a:cubicBezTo>
                <a:cubicBezTo>
                  <a:pt x="91026" y="45246"/>
                  <a:pt x="91065" y="45093"/>
                  <a:pt x="91179" y="45054"/>
                </a:cubicBezTo>
                <a:cubicBezTo>
                  <a:pt x="91447" y="44940"/>
                  <a:pt x="91332" y="44672"/>
                  <a:pt x="91294" y="44634"/>
                </a:cubicBezTo>
                <a:cubicBezTo>
                  <a:pt x="91026" y="44595"/>
                  <a:pt x="91065" y="44481"/>
                  <a:pt x="91103" y="44289"/>
                </a:cubicBezTo>
                <a:cubicBezTo>
                  <a:pt x="91141" y="44175"/>
                  <a:pt x="91179" y="43983"/>
                  <a:pt x="91103" y="43869"/>
                </a:cubicBezTo>
                <a:cubicBezTo>
                  <a:pt x="90988" y="43678"/>
                  <a:pt x="90912" y="43601"/>
                  <a:pt x="91103" y="43410"/>
                </a:cubicBezTo>
                <a:cubicBezTo>
                  <a:pt x="91141" y="43372"/>
                  <a:pt x="91103" y="43219"/>
                  <a:pt x="91065" y="43180"/>
                </a:cubicBezTo>
                <a:cubicBezTo>
                  <a:pt x="90644" y="42607"/>
                  <a:pt x="90759" y="42071"/>
                  <a:pt x="91141" y="41536"/>
                </a:cubicBezTo>
                <a:cubicBezTo>
                  <a:pt x="90988" y="41459"/>
                  <a:pt x="90873" y="41421"/>
                  <a:pt x="90797" y="41383"/>
                </a:cubicBezTo>
                <a:cubicBezTo>
                  <a:pt x="90835" y="41230"/>
                  <a:pt x="90835" y="41077"/>
                  <a:pt x="90912" y="41000"/>
                </a:cubicBezTo>
                <a:cubicBezTo>
                  <a:pt x="91141" y="40847"/>
                  <a:pt x="91256" y="40694"/>
                  <a:pt x="91026" y="40465"/>
                </a:cubicBezTo>
                <a:cubicBezTo>
                  <a:pt x="90988" y="40388"/>
                  <a:pt x="91026" y="40274"/>
                  <a:pt x="91026" y="40159"/>
                </a:cubicBezTo>
                <a:cubicBezTo>
                  <a:pt x="91065" y="39853"/>
                  <a:pt x="90988" y="39050"/>
                  <a:pt x="90873" y="38744"/>
                </a:cubicBezTo>
                <a:cubicBezTo>
                  <a:pt x="90835" y="38629"/>
                  <a:pt x="90873" y="38514"/>
                  <a:pt x="90835" y="38438"/>
                </a:cubicBezTo>
                <a:cubicBezTo>
                  <a:pt x="90797" y="37979"/>
                  <a:pt x="90720" y="37520"/>
                  <a:pt x="90720" y="37061"/>
                </a:cubicBezTo>
                <a:cubicBezTo>
                  <a:pt x="90682" y="36640"/>
                  <a:pt x="90453" y="36220"/>
                  <a:pt x="90453" y="35761"/>
                </a:cubicBezTo>
                <a:cubicBezTo>
                  <a:pt x="90453" y="35302"/>
                  <a:pt x="90338" y="34843"/>
                  <a:pt x="90185" y="34422"/>
                </a:cubicBezTo>
                <a:cubicBezTo>
                  <a:pt x="89994" y="34040"/>
                  <a:pt x="89649" y="33734"/>
                  <a:pt x="89764" y="33236"/>
                </a:cubicBezTo>
                <a:cubicBezTo>
                  <a:pt x="89764" y="33198"/>
                  <a:pt x="89726" y="33122"/>
                  <a:pt x="89688" y="33122"/>
                </a:cubicBezTo>
                <a:cubicBezTo>
                  <a:pt x="89382" y="33007"/>
                  <a:pt x="89420" y="32701"/>
                  <a:pt x="89343" y="32510"/>
                </a:cubicBezTo>
                <a:cubicBezTo>
                  <a:pt x="89229" y="32051"/>
                  <a:pt x="88961" y="31668"/>
                  <a:pt x="88961" y="31171"/>
                </a:cubicBezTo>
                <a:cubicBezTo>
                  <a:pt x="88502" y="30980"/>
                  <a:pt x="88732" y="30444"/>
                  <a:pt x="88464" y="30100"/>
                </a:cubicBezTo>
                <a:cubicBezTo>
                  <a:pt x="88234" y="29794"/>
                  <a:pt x="88158" y="29335"/>
                  <a:pt x="87967" y="28953"/>
                </a:cubicBezTo>
                <a:cubicBezTo>
                  <a:pt x="87928" y="28762"/>
                  <a:pt x="87775" y="28609"/>
                  <a:pt x="87775" y="28417"/>
                </a:cubicBezTo>
                <a:cubicBezTo>
                  <a:pt x="87775" y="28188"/>
                  <a:pt x="87737" y="28035"/>
                  <a:pt x="87469" y="27997"/>
                </a:cubicBezTo>
                <a:cubicBezTo>
                  <a:pt x="87584" y="27729"/>
                  <a:pt x="87010" y="27538"/>
                  <a:pt x="87431" y="27232"/>
                </a:cubicBezTo>
                <a:cubicBezTo>
                  <a:pt x="87125" y="27079"/>
                  <a:pt x="86896" y="27002"/>
                  <a:pt x="86857" y="26658"/>
                </a:cubicBezTo>
                <a:cubicBezTo>
                  <a:pt x="86819" y="26314"/>
                  <a:pt x="86628" y="26008"/>
                  <a:pt x="86475" y="25702"/>
                </a:cubicBezTo>
                <a:cubicBezTo>
                  <a:pt x="86399" y="25587"/>
                  <a:pt x="86475" y="25281"/>
                  <a:pt x="86399" y="25243"/>
                </a:cubicBezTo>
                <a:cubicBezTo>
                  <a:pt x="86093" y="25052"/>
                  <a:pt x="85901" y="24746"/>
                  <a:pt x="85863" y="24440"/>
                </a:cubicBezTo>
                <a:cubicBezTo>
                  <a:pt x="85787" y="24134"/>
                  <a:pt x="85519" y="23943"/>
                  <a:pt x="85481" y="23598"/>
                </a:cubicBezTo>
                <a:cubicBezTo>
                  <a:pt x="85481" y="23445"/>
                  <a:pt x="85328" y="23292"/>
                  <a:pt x="85213" y="23101"/>
                </a:cubicBezTo>
                <a:cubicBezTo>
                  <a:pt x="85136" y="23025"/>
                  <a:pt x="85022" y="22872"/>
                  <a:pt x="85022" y="22833"/>
                </a:cubicBezTo>
                <a:cubicBezTo>
                  <a:pt x="85175" y="22374"/>
                  <a:pt x="84524" y="22260"/>
                  <a:pt x="84677" y="21877"/>
                </a:cubicBezTo>
                <a:cubicBezTo>
                  <a:pt x="84371" y="21763"/>
                  <a:pt x="84448" y="21304"/>
                  <a:pt x="84257" y="21265"/>
                </a:cubicBezTo>
                <a:cubicBezTo>
                  <a:pt x="83913" y="21112"/>
                  <a:pt x="83989" y="20730"/>
                  <a:pt x="83798" y="20615"/>
                </a:cubicBezTo>
                <a:cubicBezTo>
                  <a:pt x="83415" y="20347"/>
                  <a:pt x="83301" y="19927"/>
                  <a:pt x="83033" y="19583"/>
                </a:cubicBezTo>
                <a:cubicBezTo>
                  <a:pt x="82727" y="19200"/>
                  <a:pt x="82421" y="18741"/>
                  <a:pt x="82077" y="18359"/>
                </a:cubicBezTo>
                <a:cubicBezTo>
                  <a:pt x="82038" y="18320"/>
                  <a:pt x="82000" y="18282"/>
                  <a:pt x="81962" y="18206"/>
                </a:cubicBezTo>
                <a:cubicBezTo>
                  <a:pt x="81924" y="18129"/>
                  <a:pt x="81503" y="17364"/>
                  <a:pt x="81503" y="17364"/>
                </a:cubicBezTo>
                <a:cubicBezTo>
                  <a:pt x="81121" y="17364"/>
                  <a:pt x="81197" y="16944"/>
                  <a:pt x="81006" y="16791"/>
                </a:cubicBezTo>
                <a:cubicBezTo>
                  <a:pt x="80776" y="16638"/>
                  <a:pt x="80585" y="16446"/>
                  <a:pt x="80547" y="16140"/>
                </a:cubicBezTo>
                <a:cubicBezTo>
                  <a:pt x="80509" y="16064"/>
                  <a:pt x="80279" y="16026"/>
                  <a:pt x="80088" y="15949"/>
                </a:cubicBezTo>
                <a:cubicBezTo>
                  <a:pt x="79858" y="15299"/>
                  <a:pt x="79858" y="15299"/>
                  <a:pt x="79132" y="14840"/>
                </a:cubicBezTo>
                <a:cubicBezTo>
                  <a:pt x="79055" y="14802"/>
                  <a:pt x="78979" y="14764"/>
                  <a:pt x="78941" y="14687"/>
                </a:cubicBezTo>
                <a:cubicBezTo>
                  <a:pt x="78826" y="14113"/>
                  <a:pt x="78176" y="13999"/>
                  <a:pt x="77908" y="13501"/>
                </a:cubicBezTo>
                <a:cubicBezTo>
                  <a:pt x="77831" y="13348"/>
                  <a:pt x="77564" y="13234"/>
                  <a:pt x="77372" y="13157"/>
                </a:cubicBezTo>
                <a:cubicBezTo>
                  <a:pt x="77143" y="13119"/>
                  <a:pt x="77066" y="12966"/>
                  <a:pt x="76914" y="12813"/>
                </a:cubicBezTo>
                <a:cubicBezTo>
                  <a:pt x="76531" y="12354"/>
                  <a:pt x="76072" y="11972"/>
                  <a:pt x="75651" y="11551"/>
                </a:cubicBezTo>
                <a:cubicBezTo>
                  <a:pt x="75582" y="11578"/>
                  <a:pt x="75520" y="11589"/>
                  <a:pt x="75465" y="11589"/>
                </a:cubicBezTo>
                <a:cubicBezTo>
                  <a:pt x="75127" y="11589"/>
                  <a:pt x="75029" y="11147"/>
                  <a:pt x="74733" y="11015"/>
                </a:cubicBezTo>
                <a:cubicBezTo>
                  <a:pt x="74486" y="10874"/>
                  <a:pt x="74402" y="10471"/>
                  <a:pt x="74029" y="10471"/>
                </a:cubicBezTo>
                <a:cubicBezTo>
                  <a:pt x="73998" y="10471"/>
                  <a:pt x="73965" y="10474"/>
                  <a:pt x="73930" y="10480"/>
                </a:cubicBezTo>
                <a:cubicBezTo>
                  <a:pt x="73930" y="10487"/>
                  <a:pt x="73928" y="10490"/>
                  <a:pt x="73923" y="10490"/>
                </a:cubicBezTo>
                <a:cubicBezTo>
                  <a:pt x="73904" y="10490"/>
                  <a:pt x="73854" y="10434"/>
                  <a:pt x="73854" y="10403"/>
                </a:cubicBezTo>
                <a:cubicBezTo>
                  <a:pt x="73818" y="10226"/>
                  <a:pt x="73881" y="10017"/>
                  <a:pt x="73618" y="10017"/>
                </a:cubicBezTo>
                <a:cubicBezTo>
                  <a:pt x="73597" y="10017"/>
                  <a:pt x="73574" y="10018"/>
                  <a:pt x="73548" y="10021"/>
                </a:cubicBezTo>
                <a:cubicBezTo>
                  <a:pt x="73532" y="10023"/>
                  <a:pt x="73517" y="10024"/>
                  <a:pt x="73503" y="10024"/>
                </a:cubicBezTo>
                <a:cubicBezTo>
                  <a:pt x="73228" y="10024"/>
                  <a:pt x="73462" y="9673"/>
                  <a:pt x="73280" y="9600"/>
                </a:cubicBezTo>
                <a:cubicBezTo>
                  <a:pt x="72668" y="9256"/>
                  <a:pt x="72056" y="8912"/>
                  <a:pt x="71636" y="8300"/>
                </a:cubicBezTo>
                <a:cubicBezTo>
                  <a:pt x="71636" y="8300"/>
                  <a:pt x="71597" y="8262"/>
                  <a:pt x="71559" y="8262"/>
                </a:cubicBezTo>
                <a:cubicBezTo>
                  <a:pt x="70947" y="8185"/>
                  <a:pt x="70565" y="7688"/>
                  <a:pt x="70106" y="7344"/>
                </a:cubicBezTo>
                <a:cubicBezTo>
                  <a:pt x="70003" y="7276"/>
                  <a:pt x="69871" y="7147"/>
                  <a:pt x="69789" y="7147"/>
                </a:cubicBezTo>
                <a:cubicBezTo>
                  <a:pt x="69779" y="7147"/>
                  <a:pt x="69770" y="7148"/>
                  <a:pt x="69762" y="7153"/>
                </a:cubicBezTo>
                <a:cubicBezTo>
                  <a:pt x="69721" y="7159"/>
                  <a:pt x="69684" y="7163"/>
                  <a:pt x="69650" y="7163"/>
                </a:cubicBezTo>
                <a:cubicBezTo>
                  <a:pt x="69308" y="7163"/>
                  <a:pt x="69334" y="6833"/>
                  <a:pt x="69264" y="6694"/>
                </a:cubicBezTo>
                <a:cubicBezTo>
                  <a:pt x="68882" y="6655"/>
                  <a:pt x="68499" y="6732"/>
                  <a:pt x="68270" y="6349"/>
                </a:cubicBezTo>
                <a:cubicBezTo>
                  <a:pt x="68232" y="6235"/>
                  <a:pt x="68040" y="6120"/>
                  <a:pt x="67887" y="6120"/>
                </a:cubicBezTo>
                <a:cubicBezTo>
                  <a:pt x="67467" y="6082"/>
                  <a:pt x="67161" y="5967"/>
                  <a:pt x="66970" y="5546"/>
                </a:cubicBezTo>
                <a:cubicBezTo>
                  <a:pt x="66931" y="5508"/>
                  <a:pt x="66778" y="5508"/>
                  <a:pt x="66664" y="5470"/>
                </a:cubicBezTo>
                <a:cubicBezTo>
                  <a:pt x="66511" y="5431"/>
                  <a:pt x="66396" y="5393"/>
                  <a:pt x="66243" y="5393"/>
                </a:cubicBezTo>
                <a:cubicBezTo>
                  <a:pt x="66281" y="5278"/>
                  <a:pt x="66281" y="5202"/>
                  <a:pt x="66319" y="5125"/>
                </a:cubicBezTo>
                <a:cubicBezTo>
                  <a:pt x="65937" y="5011"/>
                  <a:pt x="65593" y="4820"/>
                  <a:pt x="65248" y="4820"/>
                </a:cubicBezTo>
                <a:cubicBezTo>
                  <a:pt x="65185" y="4829"/>
                  <a:pt x="65124" y="4833"/>
                  <a:pt x="65066" y="4833"/>
                </a:cubicBezTo>
                <a:cubicBezTo>
                  <a:pt x="64879" y="4833"/>
                  <a:pt x="64724" y="4783"/>
                  <a:pt x="64637" y="4667"/>
                </a:cubicBezTo>
                <a:cubicBezTo>
                  <a:pt x="64292" y="4284"/>
                  <a:pt x="63680" y="4552"/>
                  <a:pt x="63413" y="4055"/>
                </a:cubicBezTo>
                <a:cubicBezTo>
                  <a:pt x="63341" y="4087"/>
                  <a:pt x="63278" y="4101"/>
                  <a:pt x="63222" y="4101"/>
                </a:cubicBezTo>
                <a:cubicBezTo>
                  <a:pt x="62949" y="4101"/>
                  <a:pt x="62832" y="3774"/>
                  <a:pt x="62610" y="3710"/>
                </a:cubicBezTo>
                <a:cubicBezTo>
                  <a:pt x="62304" y="3634"/>
                  <a:pt x="62112" y="3519"/>
                  <a:pt x="61883" y="3366"/>
                </a:cubicBezTo>
                <a:cubicBezTo>
                  <a:pt x="61805" y="3424"/>
                  <a:pt x="61733" y="3446"/>
                  <a:pt x="61662" y="3446"/>
                </a:cubicBezTo>
                <a:cubicBezTo>
                  <a:pt x="61470" y="3446"/>
                  <a:pt x="61297" y="3287"/>
                  <a:pt x="61090" y="3287"/>
                </a:cubicBezTo>
                <a:cubicBezTo>
                  <a:pt x="61074" y="3287"/>
                  <a:pt x="61058" y="3288"/>
                  <a:pt x="61041" y="3290"/>
                </a:cubicBezTo>
                <a:cubicBezTo>
                  <a:pt x="61014" y="3296"/>
                  <a:pt x="60982" y="3300"/>
                  <a:pt x="60948" y="3300"/>
                </a:cubicBezTo>
                <a:cubicBezTo>
                  <a:pt x="60787" y="3300"/>
                  <a:pt x="60569" y="3231"/>
                  <a:pt x="60506" y="3137"/>
                </a:cubicBezTo>
                <a:cubicBezTo>
                  <a:pt x="60353" y="2831"/>
                  <a:pt x="59971" y="2907"/>
                  <a:pt x="59856" y="2792"/>
                </a:cubicBezTo>
                <a:cubicBezTo>
                  <a:pt x="59665" y="2487"/>
                  <a:pt x="59397" y="2525"/>
                  <a:pt x="59167" y="2448"/>
                </a:cubicBezTo>
                <a:cubicBezTo>
                  <a:pt x="59053" y="2410"/>
                  <a:pt x="58900" y="2372"/>
                  <a:pt x="58785" y="2372"/>
                </a:cubicBezTo>
                <a:cubicBezTo>
                  <a:pt x="58647" y="2383"/>
                  <a:pt x="58505" y="2395"/>
                  <a:pt x="58362" y="2395"/>
                </a:cubicBezTo>
                <a:cubicBezTo>
                  <a:pt x="58033" y="2395"/>
                  <a:pt x="57702" y="2333"/>
                  <a:pt x="57408" y="2066"/>
                </a:cubicBezTo>
                <a:cubicBezTo>
                  <a:pt x="57332" y="2028"/>
                  <a:pt x="57217" y="1989"/>
                  <a:pt x="57140" y="1989"/>
                </a:cubicBezTo>
                <a:cubicBezTo>
                  <a:pt x="56567" y="1798"/>
                  <a:pt x="56031" y="1683"/>
                  <a:pt x="55458" y="1530"/>
                </a:cubicBezTo>
                <a:cubicBezTo>
                  <a:pt x="54960" y="1377"/>
                  <a:pt x="54463" y="1148"/>
                  <a:pt x="53928" y="1110"/>
                </a:cubicBezTo>
                <a:cubicBezTo>
                  <a:pt x="53430" y="1110"/>
                  <a:pt x="52972" y="995"/>
                  <a:pt x="52513" y="804"/>
                </a:cubicBezTo>
                <a:cubicBezTo>
                  <a:pt x="52336" y="745"/>
                  <a:pt x="52138" y="664"/>
                  <a:pt x="51951" y="664"/>
                </a:cubicBezTo>
                <a:cubicBezTo>
                  <a:pt x="51895" y="664"/>
                  <a:pt x="51839" y="671"/>
                  <a:pt x="51786" y="689"/>
                </a:cubicBezTo>
                <a:cubicBezTo>
                  <a:pt x="51705" y="716"/>
                  <a:pt x="51628" y="729"/>
                  <a:pt x="51555" y="729"/>
                </a:cubicBezTo>
                <a:cubicBezTo>
                  <a:pt x="51421" y="729"/>
                  <a:pt x="51297" y="687"/>
                  <a:pt x="51174" y="612"/>
                </a:cubicBezTo>
                <a:cubicBezTo>
                  <a:pt x="51027" y="554"/>
                  <a:pt x="50858" y="473"/>
                  <a:pt x="50718" y="473"/>
                </a:cubicBezTo>
                <a:cubicBezTo>
                  <a:pt x="50676" y="473"/>
                  <a:pt x="50636" y="480"/>
                  <a:pt x="50600" y="498"/>
                </a:cubicBezTo>
                <a:cubicBezTo>
                  <a:pt x="50517" y="516"/>
                  <a:pt x="50433" y="524"/>
                  <a:pt x="50351" y="524"/>
                </a:cubicBezTo>
                <a:cubicBezTo>
                  <a:pt x="49900" y="524"/>
                  <a:pt x="49460" y="292"/>
                  <a:pt x="48998" y="292"/>
                </a:cubicBezTo>
                <a:cubicBezTo>
                  <a:pt x="48847" y="292"/>
                  <a:pt x="48693" y="317"/>
                  <a:pt x="48535" y="383"/>
                </a:cubicBezTo>
                <a:cubicBezTo>
                  <a:pt x="48378" y="278"/>
                  <a:pt x="48205" y="253"/>
                  <a:pt x="48027" y="253"/>
                </a:cubicBezTo>
                <a:cubicBezTo>
                  <a:pt x="47863" y="253"/>
                  <a:pt x="47694" y="275"/>
                  <a:pt x="47530" y="275"/>
                </a:cubicBezTo>
                <a:cubicBezTo>
                  <a:pt x="47482" y="275"/>
                  <a:pt x="47434" y="273"/>
                  <a:pt x="47388" y="268"/>
                </a:cubicBezTo>
                <a:cubicBezTo>
                  <a:pt x="46929" y="230"/>
                  <a:pt x="46470" y="230"/>
                  <a:pt x="46011" y="154"/>
                </a:cubicBezTo>
                <a:cubicBezTo>
                  <a:pt x="45934" y="154"/>
                  <a:pt x="45820" y="39"/>
                  <a:pt x="45743" y="1"/>
                </a:cubicBezTo>
                <a:lnTo>
                  <a:pt x="45590" y="1"/>
                </a:lnTo>
                <a:cubicBezTo>
                  <a:pt x="45552" y="39"/>
                  <a:pt x="45514" y="154"/>
                  <a:pt x="45475" y="154"/>
                </a:cubicBezTo>
                <a:lnTo>
                  <a:pt x="42951" y="154"/>
                </a:lnTo>
                <a:cubicBezTo>
                  <a:pt x="42913" y="154"/>
                  <a:pt x="42875" y="39"/>
                  <a:pt x="42836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8" name="Google Shape;58;p15"/>
          <p:cNvSpPr/>
          <p:nvPr/>
        </p:nvSpPr>
        <p:spPr>
          <a:xfrm>
            <a:off x="1237750" y="3801559"/>
            <a:ext cx="488645" cy="490724"/>
          </a:xfrm>
          <a:custGeom>
            <a:avLst/>
            <a:gdLst/>
            <a:ahLst/>
            <a:cxnLst/>
            <a:rect l="l" t="t" r="r" b="b"/>
            <a:pathLst>
              <a:path w="17862" h="17938" extrusionOk="0">
                <a:moveTo>
                  <a:pt x="17708" y="0"/>
                </a:moveTo>
                <a:cubicBezTo>
                  <a:pt x="17555" y="0"/>
                  <a:pt x="17364" y="39"/>
                  <a:pt x="17326" y="77"/>
                </a:cubicBezTo>
                <a:cubicBezTo>
                  <a:pt x="17249" y="306"/>
                  <a:pt x="17096" y="345"/>
                  <a:pt x="16905" y="459"/>
                </a:cubicBezTo>
                <a:cubicBezTo>
                  <a:pt x="16714" y="574"/>
                  <a:pt x="16484" y="765"/>
                  <a:pt x="16370" y="995"/>
                </a:cubicBezTo>
                <a:cubicBezTo>
                  <a:pt x="15911" y="1607"/>
                  <a:pt x="15146" y="1875"/>
                  <a:pt x="14763" y="2563"/>
                </a:cubicBezTo>
                <a:cubicBezTo>
                  <a:pt x="14725" y="2563"/>
                  <a:pt x="14687" y="2601"/>
                  <a:pt x="14649" y="2601"/>
                </a:cubicBezTo>
                <a:cubicBezTo>
                  <a:pt x="14075" y="2869"/>
                  <a:pt x="13807" y="3519"/>
                  <a:pt x="13195" y="3787"/>
                </a:cubicBezTo>
                <a:cubicBezTo>
                  <a:pt x="13272" y="4169"/>
                  <a:pt x="12928" y="4246"/>
                  <a:pt x="12736" y="4437"/>
                </a:cubicBezTo>
                <a:cubicBezTo>
                  <a:pt x="12277" y="4819"/>
                  <a:pt x="11857" y="5240"/>
                  <a:pt x="11436" y="5699"/>
                </a:cubicBezTo>
                <a:cubicBezTo>
                  <a:pt x="11130" y="6043"/>
                  <a:pt x="10862" y="6426"/>
                  <a:pt x="10403" y="6579"/>
                </a:cubicBezTo>
                <a:cubicBezTo>
                  <a:pt x="10250" y="6617"/>
                  <a:pt x="10136" y="6847"/>
                  <a:pt x="10059" y="6961"/>
                </a:cubicBezTo>
                <a:cubicBezTo>
                  <a:pt x="9944" y="7076"/>
                  <a:pt x="9868" y="7191"/>
                  <a:pt x="9791" y="7305"/>
                </a:cubicBezTo>
                <a:cubicBezTo>
                  <a:pt x="9677" y="7420"/>
                  <a:pt x="9524" y="7535"/>
                  <a:pt x="9485" y="7650"/>
                </a:cubicBezTo>
                <a:cubicBezTo>
                  <a:pt x="9447" y="7841"/>
                  <a:pt x="9103" y="7688"/>
                  <a:pt x="9179" y="7956"/>
                </a:cubicBezTo>
                <a:cubicBezTo>
                  <a:pt x="8797" y="8338"/>
                  <a:pt x="8453" y="8759"/>
                  <a:pt x="8032" y="9065"/>
                </a:cubicBezTo>
                <a:cubicBezTo>
                  <a:pt x="7611" y="9371"/>
                  <a:pt x="7229" y="9753"/>
                  <a:pt x="6885" y="10097"/>
                </a:cubicBezTo>
                <a:cubicBezTo>
                  <a:pt x="6579" y="10403"/>
                  <a:pt x="6388" y="10824"/>
                  <a:pt x="5967" y="10939"/>
                </a:cubicBezTo>
                <a:cubicBezTo>
                  <a:pt x="5623" y="11054"/>
                  <a:pt x="5776" y="11360"/>
                  <a:pt x="5584" y="11513"/>
                </a:cubicBezTo>
                <a:cubicBezTo>
                  <a:pt x="5317" y="11742"/>
                  <a:pt x="5049" y="12010"/>
                  <a:pt x="4819" y="12239"/>
                </a:cubicBezTo>
                <a:cubicBezTo>
                  <a:pt x="4628" y="12469"/>
                  <a:pt x="4475" y="12698"/>
                  <a:pt x="4284" y="12851"/>
                </a:cubicBezTo>
                <a:cubicBezTo>
                  <a:pt x="4055" y="13042"/>
                  <a:pt x="3863" y="13310"/>
                  <a:pt x="3634" y="13425"/>
                </a:cubicBezTo>
                <a:cubicBezTo>
                  <a:pt x="3328" y="13501"/>
                  <a:pt x="3328" y="13807"/>
                  <a:pt x="3098" y="13999"/>
                </a:cubicBezTo>
                <a:cubicBezTo>
                  <a:pt x="2601" y="14343"/>
                  <a:pt x="2372" y="15031"/>
                  <a:pt x="1722" y="15261"/>
                </a:cubicBezTo>
                <a:cubicBezTo>
                  <a:pt x="1339" y="16026"/>
                  <a:pt x="612" y="16523"/>
                  <a:pt x="115" y="17211"/>
                </a:cubicBezTo>
                <a:cubicBezTo>
                  <a:pt x="39" y="17288"/>
                  <a:pt x="39" y="17479"/>
                  <a:pt x="0" y="17632"/>
                </a:cubicBezTo>
                <a:cubicBezTo>
                  <a:pt x="230" y="17708"/>
                  <a:pt x="421" y="17823"/>
                  <a:pt x="612" y="17938"/>
                </a:cubicBezTo>
                <a:cubicBezTo>
                  <a:pt x="689" y="17747"/>
                  <a:pt x="727" y="17594"/>
                  <a:pt x="804" y="17517"/>
                </a:cubicBezTo>
                <a:cubicBezTo>
                  <a:pt x="1186" y="17249"/>
                  <a:pt x="1645" y="17058"/>
                  <a:pt x="1836" y="16561"/>
                </a:cubicBezTo>
                <a:cubicBezTo>
                  <a:pt x="1836" y="16523"/>
                  <a:pt x="1913" y="16485"/>
                  <a:pt x="1951" y="16485"/>
                </a:cubicBezTo>
                <a:cubicBezTo>
                  <a:pt x="1971" y="16487"/>
                  <a:pt x="1989" y="16489"/>
                  <a:pt x="2006" y="16489"/>
                </a:cubicBezTo>
                <a:cubicBezTo>
                  <a:pt x="2202" y="16489"/>
                  <a:pt x="2110" y="16287"/>
                  <a:pt x="2180" y="16217"/>
                </a:cubicBezTo>
                <a:cubicBezTo>
                  <a:pt x="2295" y="16102"/>
                  <a:pt x="2486" y="16102"/>
                  <a:pt x="2563" y="15911"/>
                </a:cubicBezTo>
                <a:cubicBezTo>
                  <a:pt x="2678" y="15720"/>
                  <a:pt x="2907" y="15567"/>
                  <a:pt x="3060" y="15375"/>
                </a:cubicBezTo>
                <a:cubicBezTo>
                  <a:pt x="3213" y="15184"/>
                  <a:pt x="3366" y="14993"/>
                  <a:pt x="3519" y="14802"/>
                </a:cubicBezTo>
                <a:cubicBezTo>
                  <a:pt x="3710" y="14496"/>
                  <a:pt x="4284" y="14534"/>
                  <a:pt x="4322" y="13999"/>
                </a:cubicBezTo>
                <a:lnTo>
                  <a:pt x="4437" y="13999"/>
                </a:lnTo>
                <a:cubicBezTo>
                  <a:pt x="4896" y="13884"/>
                  <a:pt x="5125" y="13463"/>
                  <a:pt x="5393" y="13119"/>
                </a:cubicBezTo>
                <a:cubicBezTo>
                  <a:pt x="5470" y="13004"/>
                  <a:pt x="5470" y="12813"/>
                  <a:pt x="5661" y="12813"/>
                </a:cubicBezTo>
                <a:cubicBezTo>
                  <a:pt x="5776" y="12813"/>
                  <a:pt x="5890" y="12698"/>
                  <a:pt x="5967" y="12583"/>
                </a:cubicBezTo>
                <a:cubicBezTo>
                  <a:pt x="6158" y="12430"/>
                  <a:pt x="6311" y="12239"/>
                  <a:pt x="6502" y="12086"/>
                </a:cubicBezTo>
                <a:cubicBezTo>
                  <a:pt x="6311" y="11704"/>
                  <a:pt x="6732" y="11819"/>
                  <a:pt x="6846" y="11666"/>
                </a:cubicBezTo>
                <a:cubicBezTo>
                  <a:pt x="7229" y="11130"/>
                  <a:pt x="7688" y="10671"/>
                  <a:pt x="8223" y="10250"/>
                </a:cubicBezTo>
                <a:cubicBezTo>
                  <a:pt x="8376" y="10097"/>
                  <a:pt x="8491" y="9830"/>
                  <a:pt x="8682" y="9791"/>
                </a:cubicBezTo>
                <a:cubicBezTo>
                  <a:pt x="9141" y="9638"/>
                  <a:pt x="9332" y="9333"/>
                  <a:pt x="9371" y="8874"/>
                </a:cubicBezTo>
                <a:cubicBezTo>
                  <a:pt x="9452" y="8901"/>
                  <a:pt x="9514" y="8928"/>
                  <a:pt x="9557" y="8928"/>
                </a:cubicBezTo>
                <a:cubicBezTo>
                  <a:pt x="9575" y="8928"/>
                  <a:pt x="9589" y="8923"/>
                  <a:pt x="9600" y="8912"/>
                </a:cubicBezTo>
                <a:cubicBezTo>
                  <a:pt x="9677" y="8797"/>
                  <a:pt x="9715" y="8606"/>
                  <a:pt x="9830" y="8568"/>
                </a:cubicBezTo>
                <a:cubicBezTo>
                  <a:pt x="10059" y="8491"/>
                  <a:pt x="10174" y="8415"/>
                  <a:pt x="10289" y="8223"/>
                </a:cubicBezTo>
                <a:cubicBezTo>
                  <a:pt x="10403" y="8070"/>
                  <a:pt x="10709" y="7956"/>
                  <a:pt x="10748" y="7803"/>
                </a:cubicBezTo>
                <a:cubicBezTo>
                  <a:pt x="10748" y="7458"/>
                  <a:pt x="11130" y="7688"/>
                  <a:pt x="11168" y="7497"/>
                </a:cubicBezTo>
                <a:cubicBezTo>
                  <a:pt x="11245" y="7000"/>
                  <a:pt x="11742" y="6847"/>
                  <a:pt x="12010" y="6502"/>
                </a:cubicBezTo>
                <a:cubicBezTo>
                  <a:pt x="12239" y="6235"/>
                  <a:pt x="12354" y="5814"/>
                  <a:pt x="12813" y="5776"/>
                </a:cubicBezTo>
                <a:cubicBezTo>
                  <a:pt x="12851" y="5776"/>
                  <a:pt x="12851" y="5737"/>
                  <a:pt x="12851" y="5737"/>
                </a:cubicBezTo>
                <a:cubicBezTo>
                  <a:pt x="12966" y="5431"/>
                  <a:pt x="13195" y="5317"/>
                  <a:pt x="13425" y="5164"/>
                </a:cubicBezTo>
                <a:cubicBezTo>
                  <a:pt x="13654" y="5011"/>
                  <a:pt x="13884" y="4819"/>
                  <a:pt x="13960" y="4514"/>
                </a:cubicBezTo>
                <a:cubicBezTo>
                  <a:pt x="13960" y="4361"/>
                  <a:pt x="14113" y="4208"/>
                  <a:pt x="14228" y="4169"/>
                </a:cubicBezTo>
                <a:cubicBezTo>
                  <a:pt x="14572" y="4093"/>
                  <a:pt x="14725" y="3749"/>
                  <a:pt x="14993" y="3557"/>
                </a:cubicBezTo>
                <a:cubicBezTo>
                  <a:pt x="14993" y="3557"/>
                  <a:pt x="14955" y="3443"/>
                  <a:pt x="14955" y="3366"/>
                </a:cubicBezTo>
                <a:cubicBezTo>
                  <a:pt x="15108" y="3328"/>
                  <a:pt x="15299" y="3290"/>
                  <a:pt x="15452" y="3251"/>
                </a:cubicBezTo>
                <a:cubicBezTo>
                  <a:pt x="15567" y="2601"/>
                  <a:pt x="16331" y="2448"/>
                  <a:pt x="16446" y="1798"/>
                </a:cubicBezTo>
                <a:cubicBezTo>
                  <a:pt x="16905" y="1454"/>
                  <a:pt x="17402" y="1110"/>
                  <a:pt x="17861" y="727"/>
                </a:cubicBezTo>
                <a:cubicBezTo>
                  <a:pt x="17823" y="498"/>
                  <a:pt x="17747" y="268"/>
                  <a:pt x="17708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9" name="Google Shape;59;p15"/>
          <p:cNvSpPr/>
          <p:nvPr/>
        </p:nvSpPr>
        <p:spPr>
          <a:xfrm>
            <a:off x="1133109" y="3725562"/>
            <a:ext cx="497016" cy="509217"/>
          </a:xfrm>
          <a:custGeom>
            <a:avLst/>
            <a:gdLst/>
            <a:ahLst/>
            <a:cxnLst/>
            <a:rect l="l" t="t" r="r" b="b"/>
            <a:pathLst>
              <a:path w="18168" h="18614" extrusionOk="0">
                <a:moveTo>
                  <a:pt x="17806" y="1"/>
                </a:moveTo>
                <a:cubicBezTo>
                  <a:pt x="17685" y="1"/>
                  <a:pt x="17610" y="118"/>
                  <a:pt x="17556" y="254"/>
                </a:cubicBezTo>
                <a:cubicBezTo>
                  <a:pt x="17403" y="560"/>
                  <a:pt x="17173" y="713"/>
                  <a:pt x="16867" y="790"/>
                </a:cubicBezTo>
                <a:cubicBezTo>
                  <a:pt x="16753" y="828"/>
                  <a:pt x="16676" y="904"/>
                  <a:pt x="16561" y="943"/>
                </a:cubicBezTo>
                <a:cubicBezTo>
                  <a:pt x="16714" y="1249"/>
                  <a:pt x="16638" y="1440"/>
                  <a:pt x="16370" y="1593"/>
                </a:cubicBezTo>
                <a:cubicBezTo>
                  <a:pt x="16141" y="1708"/>
                  <a:pt x="15873" y="1784"/>
                  <a:pt x="15682" y="1975"/>
                </a:cubicBezTo>
                <a:cubicBezTo>
                  <a:pt x="15529" y="2167"/>
                  <a:pt x="15414" y="2434"/>
                  <a:pt x="15299" y="2664"/>
                </a:cubicBezTo>
                <a:cubicBezTo>
                  <a:pt x="15299" y="2664"/>
                  <a:pt x="15261" y="2664"/>
                  <a:pt x="15223" y="2702"/>
                </a:cubicBezTo>
                <a:cubicBezTo>
                  <a:pt x="15146" y="2664"/>
                  <a:pt x="15070" y="2587"/>
                  <a:pt x="14955" y="2549"/>
                </a:cubicBezTo>
                <a:cubicBezTo>
                  <a:pt x="14802" y="2664"/>
                  <a:pt x="14611" y="2740"/>
                  <a:pt x="14420" y="2855"/>
                </a:cubicBezTo>
                <a:cubicBezTo>
                  <a:pt x="14420" y="3046"/>
                  <a:pt x="14420" y="3199"/>
                  <a:pt x="14381" y="3390"/>
                </a:cubicBezTo>
                <a:cubicBezTo>
                  <a:pt x="14267" y="3390"/>
                  <a:pt x="14152" y="3352"/>
                  <a:pt x="14037" y="3352"/>
                </a:cubicBezTo>
                <a:cubicBezTo>
                  <a:pt x="13731" y="4041"/>
                  <a:pt x="13043" y="4920"/>
                  <a:pt x="12278" y="5073"/>
                </a:cubicBezTo>
                <a:cubicBezTo>
                  <a:pt x="12278" y="5264"/>
                  <a:pt x="12316" y="5417"/>
                  <a:pt x="12316" y="5647"/>
                </a:cubicBezTo>
                <a:cubicBezTo>
                  <a:pt x="12214" y="5545"/>
                  <a:pt x="12129" y="5443"/>
                  <a:pt x="12038" y="5443"/>
                </a:cubicBezTo>
                <a:cubicBezTo>
                  <a:pt x="11993" y="5443"/>
                  <a:pt x="11946" y="5468"/>
                  <a:pt x="11895" y="5532"/>
                </a:cubicBezTo>
                <a:cubicBezTo>
                  <a:pt x="11781" y="5647"/>
                  <a:pt x="11704" y="5800"/>
                  <a:pt x="11551" y="5915"/>
                </a:cubicBezTo>
                <a:cubicBezTo>
                  <a:pt x="11283" y="6182"/>
                  <a:pt x="11283" y="6565"/>
                  <a:pt x="11054" y="6871"/>
                </a:cubicBezTo>
                <a:cubicBezTo>
                  <a:pt x="11028" y="6871"/>
                  <a:pt x="10986" y="6888"/>
                  <a:pt x="10949" y="6888"/>
                </a:cubicBezTo>
                <a:cubicBezTo>
                  <a:pt x="10931" y="6888"/>
                  <a:pt x="10914" y="6884"/>
                  <a:pt x="10901" y="6871"/>
                </a:cubicBezTo>
                <a:cubicBezTo>
                  <a:pt x="10850" y="6850"/>
                  <a:pt x="10801" y="6841"/>
                  <a:pt x="10755" y="6841"/>
                </a:cubicBezTo>
                <a:cubicBezTo>
                  <a:pt x="10628" y="6841"/>
                  <a:pt x="10516" y="6912"/>
                  <a:pt x="10404" y="7024"/>
                </a:cubicBezTo>
                <a:cubicBezTo>
                  <a:pt x="10327" y="7100"/>
                  <a:pt x="10251" y="7177"/>
                  <a:pt x="10174" y="7253"/>
                </a:cubicBezTo>
                <a:cubicBezTo>
                  <a:pt x="10289" y="7292"/>
                  <a:pt x="10366" y="7368"/>
                  <a:pt x="10557" y="7445"/>
                </a:cubicBezTo>
                <a:cubicBezTo>
                  <a:pt x="10213" y="7597"/>
                  <a:pt x="9983" y="7674"/>
                  <a:pt x="9677" y="7789"/>
                </a:cubicBezTo>
                <a:cubicBezTo>
                  <a:pt x="9639" y="7865"/>
                  <a:pt x="9792" y="8209"/>
                  <a:pt x="9409" y="8286"/>
                </a:cubicBezTo>
                <a:cubicBezTo>
                  <a:pt x="9333" y="8286"/>
                  <a:pt x="9295" y="8592"/>
                  <a:pt x="9027" y="8630"/>
                </a:cubicBezTo>
                <a:cubicBezTo>
                  <a:pt x="8874" y="8707"/>
                  <a:pt x="8797" y="9051"/>
                  <a:pt x="8606" y="9166"/>
                </a:cubicBezTo>
                <a:cubicBezTo>
                  <a:pt x="8415" y="9319"/>
                  <a:pt x="8186" y="9395"/>
                  <a:pt x="7956" y="9510"/>
                </a:cubicBezTo>
                <a:cubicBezTo>
                  <a:pt x="7994" y="9739"/>
                  <a:pt x="8186" y="9969"/>
                  <a:pt x="7956" y="10122"/>
                </a:cubicBezTo>
                <a:cubicBezTo>
                  <a:pt x="7880" y="10198"/>
                  <a:pt x="7803" y="10313"/>
                  <a:pt x="7688" y="10351"/>
                </a:cubicBezTo>
                <a:cubicBezTo>
                  <a:pt x="7382" y="10428"/>
                  <a:pt x="7076" y="10542"/>
                  <a:pt x="6923" y="10887"/>
                </a:cubicBezTo>
                <a:cubicBezTo>
                  <a:pt x="6847" y="11040"/>
                  <a:pt x="6656" y="11078"/>
                  <a:pt x="6503" y="11154"/>
                </a:cubicBezTo>
                <a:cubicBezTo>
                  <a:pt x="6350" y="11193"/>
                  <a:pt x="6197" y="11231"/>
                  <a:pt x="6082" y="11269"/>
                </a:cubicBezTo>
                <a:cubicBezTo>
                  <a:pt x="6120" y="11499"/>
                  <a:pt x="6158" y="11652"/>
                  <a:pt x="6197" y="11843"/>
                </a:cubicBezTo>
                <a:cubicBezTo>
                  <a:pt x="5929" y="11919"/>
                  <a:pt x="5700" y="11996"/>
                  <a:pt x="5508" y="12072"/>
                </a:cubicBezTo>
                <a:cubicBezTo>
                  <a:pt x="5508" y="12072"/>
                  <a:pt x="5585" y="12111"/>
                  <a:pt x="5623" y="12187"/>
                </a:cubicBezTo>
                <a:cubicBezTo>
                  <a:pt x="5470" y="12378"/>
                  <a:pt x="5394" y="12608"/>
                  <a:pt x="5126" y="12722"/>
                </a:cubicBezTo>
                <a:cubicBezTo>
                  <a:pt x="4820" y="12875"/>
                  <a:pt x="4476" y="13105"/>
                  <a:pt x="4590" y="13602"/>
                </a:cubicBezTo>
                <a:cubicBezTo>
                  <a:pt x="4514" y="13526"/>
                  <a:pt x="4476" y="13487"/>
                  <a:pt x="4437" y="13449"/>
                </a:cubicBezTo>
                <a:cubicBezTo>
                  <a:pt x="4437" y="13449"/>
                  <a:pt x="4399" y="13411"/>
                  <a:pt x="4399" y="13411"/>
                </a:cubicBezTo>
                <a:cubicBezTo>
                  <a:pt x="4264" y="13613"/>
                  <a:pt x="4159" y="13845"/>
                  <a:pt x="3901" y="13845"/>
                </a:cubicBezTo>
                <a:cubicBezTo>
                  <a:pt x="3866" y="13845"/>
                  <a:pt x="3828" y="13841"/>
                  <a:pt x="3787" y="13832"/>
                </a:cubicBezTo>
                <a:lnTo>
                  <a:pt x="3787" y="13832"/>
                </a:lnTo>
                <a:cubicBezTo>
                  <a:pt x="3787" y="14061"/>
                  <a:pt x="3787" y="14214"/>
                  <a:pt x="3825" y="14367"/>
                </a:cubicBezTo>
                <a:cubicBezTo>
                  <a:pt x="3518" y="14572"/>
                  <a:pt x="3272" y="14838"/>
                  <a:pt x="2868" y="14838"/>
                </a:cubicBezTo>
                <a:cubicBezTo>
                  <a:pt x="2820" y="14838"/>
                  <a:pt x="2769" y="14834"/>
                  <a:pt x="2716" y="14826"/>
                </a:cubicBezTo>
                <a:lnTo>
                  <a:pt x="2716" y="14826"/>
                </a:lnTo>
                <a:cubicBezTo>
                  <a:pt x="2831" y="14941"/>
                  <a:pt x="2869" y="14979"/>
                  <a:pt x="2984" y="15055"/>
                </a:cubicBezTo>
                <a:cubicBezTo>
                  <a:pt x="2602" y="15132"/>
                  <a:pt x="2602" y="15438"/>
                  <a:pt x="2487" y="15706"/>
                </a:cubicBezTo>
                <a:cubicBezTo>
                  <a:pt x="2449" y="15820"/>
                  <a:pt x="2372" y="15935"/>
                  <a:pt x="2296" y="15973"/>
                </a:cubicBezTo>
                <a:cubicBezTo>
                  <a:pt x="2181" y="15973"/>
                  <a:pt x="2066" y="15897"/>
                  <a:pt x="1990" y="15859"/>
                </a:cubicBezTo>
                <a:cubicBezTo>
                  <a:pt x="1913" y="16012"/>
                  <a:pt x="1837" y="16126"/>
                  <a:pt x="1798" y="16241"/>
                </a:cubicBezTo>
                <a:cubicBezTo>
                  <a:pt x="1798" y="16394"/>
                  <a:pt x="1798" y="16547"/>
                  <a:pt x="1798" y="16700"/>
                </a:cubicBezTo>
                <a:cubicBezTo>
                  <a:pt x="1531" y="16815"/>
                  <a:pt x="1263" y="16968"/>
                  <a:pt x="995" y="17083"/>
                </a:cubicBezTo>
                <a:cubicBezTo>
                  <a:pt x="1034" y="17235"/>
                  <a:pt x="1072" y="17312"/>
                  <a:pt x="1072" y="17350"/>
                </a:cubicBezTo>
                <a:cubicBezTo>
                  <a:pt x="804" y="17541"/>
                  <a:pt x="575" y="17733"/>
                  <a:pt x="269" y="17924"/>
                </a:cubicBezTo>
                <a:cubicBezTo>
                  <a:pt x="804" y="18115"/>
                  <a:pt x="1" y="18459"/>
                  <a:pt x="460" y="18612"/>
                </a:cubicBezTo>
                <a:cubicBezTo>
                  <a:pt x="481" y="18613"/>
                  <a:pt x="503" y="18614"/>
                  <a:pt x="523" y="18614"/>
                </a:cubicBezTo>
                <a:cubicBezTo>
                  <a:pt x="1279" y="18614"/>
                  <a:pt x="1581" y="17951"/>
                  <a:pt x="2028" y="17541"/>
                </a:cubicBezTo>
                <a:cubicBezTo>
                  <a:pt x="2372" y="17235"/>
                  <a:pt x="2640" y="16815"/>
                  <a:pt x="3022" y="16547"/>
                </a:cubicBezTo>
                <a:cubicBezTo>
                  <a:pt x="3214" y="16356"/>
                  <a:pt x="3519" y="16165"/>
                  <a:pt x="3558" y="15973"/>
                </a:cubicBezTo>
                <a:cubicBezTo>
                  <a:pt x="3596" y="15706"/>
                  <a:pt x="3749" y="15667"/>
                  <a:pt x="3902" y="15553"/>
                </a:cubicBezTo>
                <a:cubicBezTo>
                  <a:pt x="3940" y="15514"/>
                  <a:pt x="3978" y="15476"/>
                  <a:pt x="4017" y="15438"/>
                </a:cubicBezTo>
                <a:cubicBezTo>
                  <a:pt x="4399" y="15017"/>
                  <a:pt x="4705" y="14558"/>
                  <a:pt x="5126" y="14214"/>
                </a:cubicBezTo>
                <a:cubicBezTo>
                  <a:pt x="5432" y="13946"/>
                  <a:pt x="5661" y="13679"/>
                  <a:pt x="5929" y="13373"/>
                </a:cubicBezTo>
                <a:cubicBezTo>
                  <a:pt x="6005" y="13296"/>
                  <a:pt x="6082" y="13181"/>
                  <a:pt x="6158" y="13105"/>
                </a:cubicBezTo>
                <a:cubicBezTo>
                  <a:pt x="6464" y="12837"/>
                  <a:pt x="6732" y="12531"/>
                  <a:pt x="7000" y="12264"/>
                </a:cubicBezTo>
                <a:cubicBezTo>
                  <a:pt x="7535" y="11728"/>
                  <a:pt x="8071" y="11154"/>
                  <a:pt x="8606" y="10619"/>
                </a:cubicBezTo>
                <a:cubicBezTo>
                  <a:pt x="8950" y="10275"/>
                  <a:pt x="9409" y="9969"/>
                  <a:pt x="9677" y="9510"/>
                </a:cubicBezTo>
                <a:cubicBezTo>
                  <a:pt x="10060" y="8860"/>
                  <a:pt x="10786" y="8515"/>
                  <a:pt x="11169" y="7865"/>
                </a:cubicBezTo>
                <a:cubicBezTo>
                  <a:pt x="11934" y="7330"/>
                  <a:pt x="12316" y="6450"/>
                  <a:pt x="13119" y="5953"/>
                </a:cubicBezTo>
                <a:cubicBezTo>
                  <a:pt x="13578" y="5150"/>
                  <a:pt x="14420" y="4614"/>
                  <a:pt x="14993" y="3849"/>
                </a:cubicBezTo>
                <a:cubicBezTo>
                  <a:pt x="15185" y="3582"/>
                  <a:pt x="15605" y="3429"/>
                  <a:pt x="15720" y="3123"/>
                </a:cubicBezTo>
                <a:cubicBezTo>
                  <a:pt x="15873" y="2778"/>
                  <a:pt x="16179" y="2587"/>
                  <a:pt x="16370" y="2320"/>
                </a:cubicBezTo>
                <a:cubicBezTo>
                  <a:pt x="16829" y="1669"/>
                  <a:pt x="17403" y="1134"/>
                  <a:pt x="17976" y="598"/>
                </a:cubicBezTo>
                <a:cubicBezTo>
                  <a:pt x="18168" y="407"/>
                  <a:pt x="18091" y="254"/>
                  <a:pt x="17976" y="63"/>
                </a:cubicBezTo>
                <a:cubicBezTo>
                  <a:pt x="17911" y="19"/>
                  <a:pt x="17855" y="1"/>
                  <a:pt x="17806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0" name="Google Shape;60;p15"/>
          <p:cNvSpPr/>
          <p:nvPr/>
        </p:nvSpPr>
        <p:spPr>
          <a:xfrm>
            <a:off x="1349693" y="4002439"/>
            <a:ext cx="1095" cy="28"/>
          </a:xfrm>
          <a:custGeom>
            <a:avLst/>
            <a:gdLst/>
            <a:ahLst/>
            <a:cxnLst/>
            <a:rect l="l" t="t" r="r" b="b"/>
            <a:pathLst>
              <a:path w="40" h="1" extrusionOk="0">
                <a:moveTo>
                  <a:pt x="1" y="1"/>
                </a:moveTo>
                <a:cubicBezTo>
                  <a:pt x="1" y="1"/>
                  <a:pt x="39" y="1"/>
                  <a:pt x="39" y="1"/>
                </a:cubicBezTo>
                <a:cubicBezTo>
                  <a:pt x="39" y="1"/>
                  <a:pt x="39" y="1"/>
                  <a:pt x="39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1" name="Google Shape;61;p15"/>
          <p:cNvSpPr/>
          <p:nvPr/>
        </p:nvSpPr>
        <p:spPr>
          <a:xfrm>
            <a:off x="1624873" y="3727285"/>
            <a:ext cx="1067" cy="28"/>
          </a:xfrm>
          <a:custGeom>
            <a:avLst/>
            <a:gdLst/>
            <a:ahLst/>
            <a:cxnLst/>
            <a:rect l="l" t="t" r="r" b="b"/>
            <a:pathLst>
              <a:path w="39" h="1" extrusionOk="0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39" y="0"/>
                  <a:pt x="39" y="0"/>
                  <a:pt x="39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2" name="Google Shape;62;p15"/>
          <p:cNvSpPr/>
          <p:nvPr/>
        </p:nvSpPr>
        <p:spPr>
          <a:xfrm>
            <a:off x="883070" y="3445813"/>
            <a:ext cx="427940" cy="480273"/>
          </a:xfrm>
          <a:custGeom>
            <a:avLst/>
            <a:gdLst/>
            <a:ahLst/>
            <a:cxnLst/>
            <a:rect l="l" t="t" r="r" b="b"/>
            <a:pathLst>
              <a:path w="15643" h="17556" extrusionOk="0">
                <a:moveTo>
                  <a:pt x="14840" y="1"/>
                </a:moveTo>
                <a:cubicBezTo>
                  <a:pt x="14572" y="307"/>
                  <a:pt x="14266" y="613"/>
                  <a:pt x="13998" y="880"/>
                </a:cubicBezTo>
                <a:cubicBezTo>
                  <a:pt x="13730" y="1148"/>
                  <a:pt x="13348" y="1378"/>
                  <a:pt x="13118" y="1684"/>
                </a:cubicBezTo>
                <a:cubicBezTo>
                  <a:pt x="12698" y="2219"/>
                  <a:pt x="12201" y="2640"/>
                  <a:pt x="11742" y="3099"/>
                </a:cubicBezTo>
                <a:cubicBezTo>
                  <a:pt x="11130" y="3711"/>
                  <a:pt x="10671" y="4361"/>
                  <a:pt x="10059" y="4935"/>
                </a:cubicBezTo>
                <a:cubicBezTo>
                  <a:pt x="9982" y="5011"/>
                  <a:pt x="9982" y="5126"/>
                  <a:pt x="9868" y="5202"/>
                </a:cubicBezTo>
                <a:cubicBezTo>
                  <a:pt x="9103" y="5776"/>
                  <a:pt x="8567" y="6541"/>
                  <a:pt x="7955" y="7229"/>
                </a:cubicBezTo>
                <a:cubicBezTo>
                  <a:pt x="7420" y="7803"/>
                  <a:pt x="6923" y="8338"/>
                  <a:pt x="6425" y="8912"/>
                </a:cubicBezTo>
                <a:cubicBezTo>
                  <a:pt x="6502" y="8950"/>
                  <a:pt x="6540" y="8989"/>
                  <a:pt x="6655" y="9065"/>
                </a:cubicBezTo>
                <a:cubicBezTo>
                  <a:pt x="6633" y="9064"/>
                  <a:pt x="6613" y="9063"/>
                  <a:pt x="6593" y="9063"/>
                </a:cubicBezTo>
                <a:cubicBezTo>
                  <a:pt x="6157" y="9063"/>
                  <a:pt x="6148" y="9456"/>
                  <a:pt x="5928" y="9639"/>
                </a:cubicBezTo>
                <a:cubicBezTo>
                  <a:pt x="5508" y="9945"/>
                  <a:pt x="5316" y="10404"/>
                  <a:pt x="4934" y="10748"/>
                </a:cubicBezTo>
                <a:cubicBezTo>
                  <a:pt x="4743" y="10901"/>
                  <a:pt x="4475" y="11054"/>
                  <a:pt x="4398" y="11283"/>
                </a:cubicBezTo>
                <a:cubicBezTo>
                  <a:pt x="4245" y="11704"/>
                  <a:pt x="3939" y="12010"/>
                  <a:pt x="3595" y="12278"/>
                </a:cubicBezTo>
                <a:cubicBezTo>
                  <a:pt x="3289" y="12546"/>
                  <a:pt x="3136" y="12890"/>
                  <a:pt x="2907" y="13234"/>
                </a:cubicBezTo>
                <a:cubicBezTo>
                  <a:pt x="2716" y="13502"/>
                  <a:pt x="2333" y="13693"/>
                  <a:pt x="2218" y="13999"/>
                </a:cubicBezTo>
                <a:cubicBezTo>
                  <a:pt x="2065" y="14381"/>
                  <a:pt x="1683" y="14496"/>
                  <a:pt x="1568" y="14840"/>
                </a:cubicBezTo>
                <a:cubicBezTo>
                  <a:pt x="1453" y="15108"/>
                  <a:pt x="1262" y="15376"/>
                  <a:pt x="1033" y="15605"/>
                </a:cubicBezTo>
                <a:cubicBezTo>
                  <a:pt x="803" y="15873"/>
                  <a:pt x="574" y="16179"/>
                  <a:pt x="421" y="16485"/>
                </a:cubicBezTo>
                <a:cubicBezTo>
                  <a:pt x="344" y="16676"/>
                  <a:pt x="153" y="16829"/>
                  <a:pt x="0" y="16982"/>
                </a:cubicBezTo>
                <a:lnTo>
                  <a:pt x="0" y="17556"/>
                </a:lnTo>
                <a:cubicBezTo>
                  <a:pt x="689" y="16944"/>
                  <a:pt x="1377" y="16370"/>
                  <a:pt x="1912" y="15682"/>
                </a:cubicBezTo>
                <a:cubicBezTo>
                  <a:pt x="2027" y="15529"/>
                  <a:pt x="2180" y="15452"/>
                  <a:pt x="2295" y="15338"/>
                </a:cubicBezTo>
                <a:cubicBezTo>
                  <a:pt x="2524" y="15146"/>
                  <a:pt x="2869" y="14955"/>
                  <a:pt x="2869" y="14726"/>
                </a:cubicBezTo>
                <a:cubicBezTo>
                  <a:pt x="2907" y="14458"/>
                  <a:pt x="3060" y="14343"/>
                  <a:pt x="3213" y="14228"/>
                </a:cubicBezTo>
                <a:cubicBezTo>
                  <a:pt x="3404" y="14037"/>
                  <a:pt x="3672" y="13884"/>
                  <a:pt x="3786" y="13655"/>
                </a:cubicBezTo>
                <a:cubicBezTo>
                  <a:pt x="3939" y="13387"/>
                  <a:pt x="4016" y="13119"/>
                  <a:pt x="4360" y="13119"/>
                </a:cubicBezTo>
                <a:cubicBezTo>
                  <a:pt x="4398" y="13119"/>
                  <a:pt x="4398" y="13081"/>
                  <a:pt x="4398" y="13081"/>
                </a:cubicBezTo>
                <a:cubicBezTo>
                  <a:pt x="4284" y="12775"/>
                  <a:pt x="4513" y="12737"/>
                  <a:pt x="4666" y="12622"/>
                </a:cubicBezTo>
                <a:cubicBezTo>
                  <a:pt x="4819" y="12507"/>
                  <a:pt x="4896" y="12316"/>
                  <a:pt x="5010" y="12163"/>
                </a:cubicBezTo>
                <a:cubicBezTo>
                  <a:pt x="5125" y="12048"/>
                  <a:pt x="5278" y="12010"/>
                  <a:pt x="5355" y="11781"/>
                </a:cubicBezTo>
                <a:cubicBezTo>
                  <a:pt x="5393" y="11551"/>
                  <a:pt x="5775" y="11398"/>
                  <a:pt x="5928" y="11207"/>
                </a:cubicBezTo>
                <a:cubicBezTo>
                  <a:pt x="6119" y="10977"/>
                  <a:pt x="6196" y="10595"/>
                  <a:pt x="6425" y="10480"/>
                </a:cubicBezTo>
                <a:cubicBezTo>
                  <a:pt x="6770" y="10289"/>
                  <a:pt x="6884" y="9945"/>
                  <a:pt x="7114" y="9677"/>
                </a:cubicBezTo>
                <a:cubicBezTo>
                  <a:pt x="7305" y="9486"/>
                  <a:pt x="7573" y="9333"/>
                  <a:pt x="7688" y="9142"/>
                </a:cubicBezTo>
                <a:cubicBezTo>
                  <a:pt x="8070" y="8415"/>
                  <a:pt x="8797" y="7994"/>
                  <a:pt x="9141" y="7268"/>
                </a:cubicBezTo>
                <a:cubicBezTo>
                  <a:pt x="9141" y="7229"/>
                  <a:pt x="9179" y="7153"/>
                  <a:pt x="9217" y="7153"/>
                </a:cubicBezTo>
                <a:cubicBezTo>
                  <a:pt x="9638" y="7000"/>
                  <a:pt x="9829" y="6541"/>
                  <a:pt x="10135" y="6273"/>
                </a:cubicBezTo>
                <a:cubicBezTo>
                  <a:pt x="10326" y="6082"/>
                  <a:pt x="10556" y="5967"/>
                  <a:pt x="10671" y="5699"/>
                </a:cubicBezTo>
                <a:cubicBezTo>
                  <a:pt x="10709" y="5470"/>
                  <a:pt x="10977" y="5355"/>
                  <a:pt x="11168" y="5164"/>
                </a:cubicBezTo>
                <a:cubicBezTo>
                  <a:pt x="11283" y="5049"/>
                  <a:pt x="11436" y="4896"/>
                  <a:pt x="11550" y="4743"/>
                </a:cubicBezTo>
                <a:cubicBezTo>
                  <a:pt x="11665" y="4629"/>
                  <a:pt x="11742" y="4514"/>
                  <a:pt x="11856" y="4399"/>
                </a:cubicBezTo>
                <a:cubicBezTo>
                  <a:pt x="12277" y="3940"/>
                  <a:pt x="12774" y="3558"/>
                  <a:pt x="13118" y="3022"/>
                </a:cubicBezTo>
                <a:cubicBezTo>
                  <a:pt x="13310" y="2678"/>
                  <a:pt x="13654" y="2449"/>
                  <a:pt x="13922" y="2181"/>
                </a:cubicBezTo>
                <a:cubicBezTo>
                  <a:pt x="14419" y="1722"/>
                  <a:pt x="14916" y="1263"/>
                  <a:pt x="15337" y="766"/>
                </a:cubicBezTo>
                <a:cubicBezTo>
                  <a:pt x="15451" y="651"/>
                  <a:pt x="15566" y="536"/>
                  <a:pt x="15643" y="383"/>
                </a:cubicBezTo>
                <a:cubicBezTo>
                  <a:pt x="15375" y="269"/>
                  <a:pt x="15107" y="116"/>
                  <a:pt x="14840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" name="Google Shape;63;p15"/>
          <p:cNvSpPr/>
          <p:nvPr/>
        </p:nvSpPr>
        <p:spPr>
          <a:xfrm>
            <a:off x="801438" y="3402917"/>
            <a:ext cx="397629" cy="452041"/>
          </a:xfrm>
          <a:custGeom>
            <a:avLst/>
            <a:gdLst/>
            <a:ahLst/>
            <a:cxnLst/>
            <a:rect l="l" t="t" r="r" b="b"/>
            <a:pathLst>
              <a:path w="14535" h="16524" extrusionOk="0">
                <a:moveTo>
                  <a:pt x="13731" y="1"/>
                </a:moveTo>
                <a:cubicBezTo>
                  <a:pt x="13655" y="39"/>
                  <a:pt x="13616" y="115"/>
                  <a:pt x="13578" y="115"/>
                </a:cubicBezTo>
                <a:cubicBezTo>
                  <a:pt x="13310" y="115"/>
                  <a:pt x="13234" y="307"/>
                  <a:pt x="13043" y="421"/>
                </a:cubicBezTo>
                <a:cubicBezTo>
                  <a:pt x="12737" y="689"/>
                  <a:pt x="12622" y="1148"/>
                  <a:pt x="12201" y="1263"/>
                </a:cubicBezTo>
                <a:cubicBezTo>
                  <a:pt x="12163" y="1263"/>
                  <a:pt x="12201" y="1492"/>
                  <a:pt x="12163" y="1607"/>
                </a:cubicBezTo>
                <a:cubicBezTo>
                  <a:pt x="12099" y="1594"/>
                  <a:pt x="12031" y="1582"/>
                  <a:pt x="11966" y="1582"/>
                </a:cubicBezTo>
                <a:cubicBezTo>
                  <a:pt x="11836" y="1582"/>
                  <a:pt x="11717" y="1633"/>
                  <a:pt x="11666" y="1837"/>
                </a:cubicBezTo>
                <a:cubicBezTo>
                  <a:pt x="11628" y="1913"/>
                  <a:pt x="11589" y="2066"/>
                  <a:pt x="11513" y="2104"/>
                </a:cubicBezTo>
                <a:cubicBezTo>
                  <a:pt x="11207" y="2219"/>
                  <a:pt x="11207" y="2448"/>
                  <a:pt x="11207" y="2601"/>
                </a:cubicBezTo>
                <a:cubicBezTo>
                  <a:pt x="10633" y="2831"/>
                  <a:pt x="10442" y="3366"/>
                  <a:pt x="9945" y="3558"/>
                </a:cubicBezTo>
                <a:cubicBezTo>
                  <a:pt x="9983" y="3672"/>
                  <a:pt x="10021" y="3787"/>
                  <a:pt x="10060" y="3902"/>
                </a:cubicBezTo>
                <a:cubicBezTo>
                  <a:pt x="9990" y="3902"/>
                  <a:pt x="9921" y="3892"/>
                  <a:pt x="9856" y="3892"/>
                </a:cubicBezTo>
                <a:cubicBezTo>
                  <a:pt x="9744" y="3892"/>
                  <a:pt x="9649" y="3923"/>
                  <a:pt x="9601" y="4093"/>
                </a:cubicBezTo>
                <a:cubicBezTo>
                  <a:pt x="9524" y="4323"/>
                  <a:pt x="9409" y="4590"/>
                  <a:pt x="9218" y="4705"/>
                </a:cubicBezTo>
                <a:cubicBezTo>
                  <a:pt x="8912" y="4934"/>
                  <a:pt x="8492" y="4973"/>
                  <a:pt x="8492" y="5470"/>
                </a:cubicBezTo>
                <a:cubicBezTo>
                  <a:pt x="8071" y="5546"/>
                  <a:pt x="8071" y="5891"/>
                  <a:pt x="8071" y="6197"/>
                </a:cubicBezTo>
                <a:cubicBezTo>
                  <a:pt x="7956" y="6197"/>
                  <a:pt x="7880" y="6158"/>
                  <a:pt x="7765" y="6158"/>
                </a:cubicBezTo>
                <a:cubicBezTo>
                  <a:pt x="7727" y="6350"/>
                  <a:pt x="7650" y="6503"/>
                  <a:pt x="7650" y="6579"/>
                </a:cubicBezTo>
                <a:cubicBezTo>
                  <a:pt x="7382" y="6732"/>
                  <a:pt x="7115" y="6809"/>
                  <a:pt x="7115" y="6923"/>
                </a:cubicBezTo>
                <a:cubicBezTo>
                  <a:pt x="7076" y="7382"/>
                  <a:pt x="6694" y="7535"/>
                  <a:pt x="6464" y="7803"/>
                </a:cubicBezTo>
                <a:cubicBezTo>
                  <a:pt x="6350" y="7956"/>
                  <a:pt x="6082" y="8415"/>
                  <a:pt x="6044" y="8606"/>
                </a:cubicBezTo>
                <a:cubicBezTo>
                  <a:pt x="5967" y="8568"/>
                  <a:pt x="5891" y="8568"/>
                  <a:pt x="5814" y="8530"/>
                </a:cubicBezTo>
                <a:cubicBezTo>
                  <a:pt x="5738" y="8644"/>
                  <a:pt x="5700" y="8721"/>
                  <a:pt x="5623" y="8836"/>
                </a:cubicBezTo>
                <a:cubicBezTo>
                  <a:pt x="5164" y="9409"/>
                  <a:pt x="4590" y="9906"/>
                  <a:pt x="4361" y="10671"/>
                </a:cubicBezTo>
                <a:cubicBezTo>
                  <a:pt x="4323" y="10748"/>
                  <a:pt x="4246" y="10786"/>
                  <a:pt x="4208" y="10863"/>
                </a:cubicBezTo>
                <a:cubicBezTo>
                  <a:pt x="4160" y="10991"/>
                  <a:pt x="4078" y="11018"/>
                  <a:pt x="3994" y="11018"/>
                </a:cubicBezTo>
                <a:cubicBezTo>
                  <a:pt x="3931" y="11018"/>
                  <a:pt x="3865" y="11002"/>
                  <a:pt x="3812" y="11002"/>
                </a:cubicBezTo>
                <a:cubicBezTo>
                  <a:pt x="3767" y="11002"/>
                  <a:pt x="3731" y="11013"/>
                  <a:pt x="3711" y="11054"/>
                </a:cubicBezTo>
                <a:cubicBezTo>
                  <a:pt x="3634" y="11207"/>
                  <a:pt x="3634" y="11436"/>
                  <a:pt x="3596" y="11589"/>
                </a:cubicBezTo>
                <a:cubicBezTo>
                  <a:pt x="3558" y="11666"/>
                  <a:pt x="3443" y="11742"/>
                  <a:pt x="3405" y="11742"/>
                </a:cubicBezTo>
                <a:cubicBezTo>
                  <a:pt x="3367" y="11735"/>
                  <a:pt x="3335" y="11731"/>
                  <a:pt x="3308" y="11731"/>
                </a:cubicBezTo>
                <a:cubicBezTo>
                  <a:pt x="3064" y="11731"/>
                  <a:pt x="3237" y="12018"/>
                  <a:pt x="3099" y="12086"/>
                </a:cubicBezTo>
                <a:cubicBezTo>
                  <a:pt x="2946" y="12239"/>
                  <a:pt x="2831" y="12431"/>
                  <a:pt x="2716" y="12584"/>
                </a:cubicBezTo>
                <a:cubicBezTo>
                  <a:pt x="2678" y="12622"/>
                  <a:pt x="2755" y="12698"/>
                  <a:pt x="2793" y="12737"/>
                </a:cubicBezTo>
                <a:cubicBezTo>
                  <a:pt x="2640" y="12851"/>
                  <a:pt x="2487" y="12851"/>
                  <a:pt x="2372" y="13043"/>
                </a:cubicBezTo>
                <a:cubicBezTo>
                  <a:pt x="2219" y="13349"/>
                  <a:pt x="1990" y="13616"/>
                  <a:pt x="1913" y="13999"/>
                </a:cubicBezTo>
                <a:cubicBezTo>
                  <a:pt x="1913" y="14114"/>
                  <a:pt x="1760" y="14228"/>
                  <a:pt x="1645" y="14381"/>
                </a:cubicBezTo>
                <a:cubicBezTo>
                  <a:pt x="1607" y="14305"/>
                  <a:pt x="1569" y="14228"/>
                  <a:pt x="1492" y="14152"/>
                </a:cubicBezTo>
                <a:cubicBezTo>
                  <a:pt x="1301" y="14343"/>
                  <a:pt x="1148" y="14534"/>
                  <a:pt x="957" y="14725"/>
                </a:cubicBezTo>
                <a:cubicBezTo>
                  <a:pt x="1225" y="15108"/>
                  <a:pt x="651" y="15031"/>
                  <a:pt x="651" y="15261"/>
                </a:cubicBezTo>
                <a:cubicBezTo>
                  <a:pt x="651" y="15490"/>
                  <a:pt x="307" y="15605"/>
                  <a:pt x="460" y="15911"/>
                </a:cubicBezTo>
                <a:cubicBezTo>
                  <a:pt x="1" y="16064"/>
                  <a:pt x="307" y="16217"/>
                  <a:pt x="460" y="16370"/>
                </a:cubicBezTo>
                <a:cubicBezTo>
                  <a:pt x="460" y="16408"/>
                  <a:pt x="498" y="16447"/>
                  <a:pt x="536" y="16523"/>
                </a:cubicBezTo>
                <a:cubicBezTo>
                  <a:pt x="1110" y="15949"/>
                  <a:pt x="1645" y="15376"/>
                  <a:pt x="2143" y="14802"/>
                </a:cubicBezTo>
                <a:cubicBezTo>
                  <a:pt x="2525" y="14420"/>
                  <a:pt x="2946" y="14037"/>
                  <a:pt x="3214" y="13578"/>
                </a:cubicBezTo>
                <a:cubicBezTo>
                  <a:pt x="3558" y="12928"/>
                  <a:pt x="4246" y="12584"/>
                  <a:pt x="4476" y="11895"/>
                </a:cubicBezTo>
                <a:cubicBezTo>
                  <a:pt x="5049" y="11475"/>
                  <a:pt x="5432" y="10863"/>
                  <a:pt x="5853" y="10327"/>
                </a:cubicBezTo>
                <a:cubicBezTo>
                  <a:pt x="6235" y="9753"/>
                  <a:pt x="6694" y="9218"/>
                  <a:pt x="7076" y="8683"/>
                </a:cubicBezTo>
                <a:cubicBezTo>
                  <a:pt x="7191" y="8491"/>
                  <a:pt x="7574" y="8530"/>
                  <a:pt x="7535" y="8185"/>
                </a:cubicBezTo>
                <a:cubicBezTo>
                  <a:pt x="7880" y="7765"/>
                  <a:pt x="8224" y="7344"/>
                  <a:pt x="8568" y="6923"/>
                </a:cubicBezTo>
                <a:cubicBezTo>
                  <a:pt x="8874" y="6617"/>
                  <a:pt x="9256" y="6350"/>
                  <a:pt x="9448" y="5967"/>
                </a:cubicBezTo>
                <a:cubicBezTo>
                  <a:pt x="9715" y="5470"/>
                  <a:pt x="10136" y="5126"/>
                  <a:pt x="10519" y="4743"/>
                </a:cubicBezTo>
                <a:cubicBezTo>
                  <a:pt x="11054" y="4170"/>
                  <a:pt x="11513" y="3519"/>
                  <a:pt x="12087" y="2946"/>
                </a:cubicBezTo>
                <a:cubicBezTo>
                  <a:pt x="12660" y="2410"/>
                  <a:pt x="13119" y="1722"/>
                  <a:pt x="13693" y="1186"/>
                </a:cubicBezTo>
                <a:cubicBezTo>
                  <a:pt x="13999" y="919"/>
                  <a:pt x="14267" y="574"/>
                  <a:pt x="14534" y="268"/>
                </a:cubicBezTo>
                <a:cubicBezTo>
                  <a:pt x="14267" y="154"/>
                  <a:pt x="13999" y="77"/>
                  <a:pt x="13731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4" name="Google Shape;64;p15"/>
          <p:cNvSpPr/>
          <p:nvPr/>
        </p:nvSpPr>
        <p:spPr>
          <a:xfrm>
            <a:off x="927005" y="3492894"/>
            <a:ext cx="472943" cy="527436"/>
          </a:xfrm>
          <a:custGeom>
            <a:avLst/>
            <a:gdLst/>
            <a:ahLst/>
            <a:cxnLst/>
            <a:rect l="l" t="t" r="r" b="b"/>
            <a:pathLst>
              <a:path w="17288" h="19280" extrusionOk="0">
                <a:moveTo>
                  <a:pt x="16561" y="1"/>
                </a:moveTo>
                <a:cubicBezTo>
                  <a:pt x="16523" y="39"/>
                  <a:pt x="16484" y="116"/>
                  <a:pt x="16446" y="154"/>
                </a:cubicBezTo>
                <a:cubicBezTo>
                  <a:pt x="16217" y="345"/>
                  <a:pt x="15949" y="536"/>
                  <a:pt x="15720" y="728"/>
                </a:cubicBezTo>
                <a:cubicBezTo>
                  <a:pt x="15452" y="957"/>
                  <a:pt x="15184" y="1225"/>
                  <a:pt x="14993" y="1493"/>
                </a:cubicBezTo>
                <a:cubicBezTo>
                  <a:pt x="14878" y="1645"/>
                  <a:pt x="14878" y="1837"/>
                  <a:pt x="14649" y="1837"/>
                </a:cubicBezTo>
                <a:cubicBezTo>
                  <a:pt x="14572" y="1837"/>
                  <a:pt x="14496" y="2104"/>
                  <a:pt x="14419" y="2257"/>
                </a:cubicBezTo>
                <a:cubicBezTo>
                  <a:pt x="14419" y="2296"/>
                  <a:pt x="14381" y="2334"/>
                  <a:pt x="14343" y="2334"/>
                </a:cubicBezTo>
                <a:cubicBezTo>
                  <a:pt x="14151" y="2410"/>
                  <a:pt x="13922" y="2449"/>
                  <a:pt x="13769" y="2563"/>
                </a:cubicBezTo>
                <a:cubicBezTo>
                  <a:pt x="13616" y="2716"/>
                  <a:pt x="13539" y="2946"/>
                  <a:pt x="13387" y="3137"/>
                </a:cubicBezTo>
                <a:cubicBezTo>
                  <a:pt x="13348" y="3214"/>
                  <a:pt x="13234" y="3252"/>
                  <a:pt x="13119" y="3328"/>
                </a:cubicBezTo>
                <a:cubicBezTo>
                  <a:pt x="13081" y="3328"/>
                  <a:pt x="12966" y="3405"/>
                  <a:pt x="12966" y="3405"/>
                </a:cubicBezTo>
                <a:cubicBezTo>
                  <a:pt x="13081" y="3749"/>
                  <a:pt x="12736" y="3940"/>
                  <a:pt x="12583" y="4017"/>
                </a:cubicBezTo>
                <a:cubicBezTo>
                  <a:pt x="12048" y="4284"/>
                  <a:pt x="11971" y="4973"/>
                  <a:pt x="11398" y="5126"/>
                </a:cubicBezTo>
                <a:cubicBezTo>
                  <a:pt x="11359" y="5126"/>
                  <a:pt x="11359" y="5241"/>
                  <a:pt x="11321" y="5279"/>
                </a:cubicBezTo>
                <a:cubicBezTo>
                  <a:pt x="11245" y="5394"/>
                  <a:pt x="11168" y="5547"/>
                  <a:pt x="11053" y="5623"/>
                </a:cubicBezTo>
                <a:cubicBezTo>
                  <a:pt x="10862" y="5814"/>
                  <a:pt x="10748" y="6159"/>
                  <a:pt x="10403" y="6197"/>
                </a:cubicBezTo>
                <a:cubicBezTo>
                  <a:pt x="10327" y="6197"/>
                  <a:pt x="10289" y="6388"/>
                  <a:pt x="10250" y="6464"/>
                </a:cubicBezTo>
                <a:cubicBezTo>
                  <a:pt x="10068" y="6683"/>
                  <a:pt x="10025" y="7041"/>
                  <a:pt x="9657" y="7041"/>
                </a:cubicBezTo>
                <a:cubicBezTo>
                  <a:pt x="9639" y="7041"/>
                  <a:pt x="9620" y="7040"/>
                  <a:pt x="9600" y="7038"/>
                </a:cubicBezTo>
                <a:cubicBezTo>
                  <a:pt x="9524" y="7038"/>
                  <a:pt x="9447" y="7153"/>
                  <a:pt x="9409" y="7268"/>
                </a:cubicBezTo>
                <a:cubicBezTo>
                  <a:pt x="9371" y="7306"/>
                  <a:pt x="9371" y="7459"/>
                  <a:pt x="9332" y="7497"/>
                </a:cubicBezTo>
                <a:cubicBezTo>
                  <a:pt x="8950" y="7650"/>
                  <a:pt x="8873" y="8071"/>
                  <a:pt x="8606" y="8300"/>
                </a:cubicBezTo>
                <a:cubicBezTo>
                  <a:pt x="8338" y="8568"/>
                  <a:pt x="8109" y="8836"/>
                  <a:pt x="7879" y="9142"/>
                </a:cubicBezTo>
                <a:cubicBezTo>
                  <a:pt x="7803" y="9256"/>
                  <a:pt x="7841" y="9448"/>
                  <a:pt x="7611" y="9486"/>
                </a:cubicBezTo>
                <a:cubicBezTo>
                  <a:pt x="7539" y="9486"/>
                  <a:pt x="7570" y="9833"/>
                  <a:pt x="7375" y="9833"/>
                </a:cubicBezTo>
                <a:cubicBezTo>
                  <a:pt x="7365" y="9833"/>
                  <a:pt x="7355" y="9832"/>
                  <a:pt x="7344" y="9830"/>
                </a:cubicBezTo>
                <a:cubicBezTo>
                  <a:pt x="7323" y="9827"/>
                  <a:pt x="7305" y="9826"/>
                  <a:pt x="7289" y="9826"/>
                </a:cubicBezTo>
                <a:cubicBezTo>
                  <a:pt x="7092" y="9826"/>
                  <a:pt x="7185" y="10027"/>
                  <a:pt x="7114" y="10098"/>
                </a:cubicBezTo>
                <a:cubicBezTo>
                  <a:pt x="6885" y="10213"/>
                  <a:pt x="6732" y="10442"/>
                  <a:pt x="6540" y="10633"/>
                </a:cubicBezTo>
                <a:cubicBezTo>
                  <a:pt x="6693" y="10978"/>
                  <a:pt x="6043" y="10901"/>
                  <a:pt x="6196" y="11245"/>
                </a:cubicBezTo>
                <a:cubicBezTo>
                  <a:pt x="5699" y="11475"/>
                  <a:pt x="5584" y="12010"/>
                  <a:pt x="5202" y="12354"/>
                </a:cubicBezTo>
                <a:cubicBezTo>
                  <a:pt x="4858" y="12622"/>
                  <a:pt x="4552" y="12890"/>
                  <a:pt x="4437" y="13311"/>
                </a:cubicBezTo>
                <a:cubicBezTo>
                  <a:pt x="4399" y="13464"/>
                  <a:pt x="4207" y="13578"/>
                  <a:pt x="4131" y="13731"/>
                </a:cubicBezTo>
                <a:cubicBezTo>
                  <a:pt x="4016" y="13922"/>
                  <a:pt x="3672" y="13884"/>
                  <a:pt x="3749" y="14190"/>
                </a:cubicBezTo>
                <a:cubicBezTo>
                  <a:pt x="3787" y="14496"/>
                  <a:pt x="3251" y="14343"/>
                  <a:pt x="3366" y="14687"/>
                </a:cubicBezTo>
                <a:cubicBezTo>
                  <a:pt x="2984" y="15185"/>
                  <a:pt x="2716" y="15758"/>
                  <a:pt x="2219" y="16141"/>
                </a:cubicBezTo>
                <a:cubicBezTo>
                  <a:pt x="2066" y="16255"/>
                  <a:pt x="1989" y="16485"/>
                  <a:pt x="1874" y="16676"/>
                </a:cubicBezTo>
                <a:cubicBezTo>
                  <a:pt x="1836" y="16753"/>
                  <a:pt x="1836" y="16829"/>
                  <a:pt x="1798" y="16867"/>
                </a:cubicBezTo>
                <a:cubicBezTo>
                  <a:pt x="1492" y="17135"/>
                  <a:pt x="1224" y="17403"/>
                  <a:pt x="1033" y="17785"/>
                </a:cubicBezTo>
                <a:cubicBezTo>
                  <a:pt x="804" y="18283"/>
                  <a:pt x="383" y="18741"/>
                  <a:pt x="0" y="19277"/>
                </a:cubicBezTo>
                <a:cubicBezTo>
                  <a:pt x="26" y="19279"/>
                  <a:pt x="50" y="19280"/>
                  <a:pt x="73" y="19280"/>
                </a:cubicBezTo>
                <a:cubicBezTo>
                  <a:pt x="543" y="19280"/>
                  <a:pt x="623" y="18924"/>
                  <a:pt x="842" y="18741"/>
                </a:cubicBezTo>
                <a:cubicBezTo>
                  <a:pt x="1186" y="18436"/>
                  <a:pt x="1645" y="18168"/>
                  <a:pt x="1798" y="17747"/>
                </a:cubicBezTo>
                <a:cubicBezTo>
                  <a:pt x="2066" y="17173"/>
                  <a:pt x="2831" y="16982"/>
                  <a:pt x="2907" y="16294"/>
                </a:cubicBezTo>
                <a:lnTo>
                  <a:pt x="2984" y="16294"/>
                </a:lnTo>
                <a:cubicBezTo>
                  <a:pt x="3213" y="16294"/>
                  <a:pt x="3251" y="16026"/>
                  <a:pt x="3366" y="15911"/>
                </a:cubicBezTo>
                <a:cubicBezTo>
                  <a:pt x="3519" y="15758"/>
                  <a:pt x="3710" y="15644"/>
                  <a:pt x="3825" y="15452"/>
                </a:cubicBezTo>
                <a:cubicBezTo>
                  <a:pt x="4169" y="14802"/>
                  <a:pt x="4666" y="14305"/>
                  <a:pt x="5164" y="13808"/>
                </a:cubicBezTo>
                <a:cubicBezTo>
                  <a:pt x="5431" y="13502"/>
                  <a:pt x="5814" y="13234"/>
                  <a:pt x="5967" y="12890"/>
                </a:cubicBezTo>
                <a:cubicBezTo>
                  <a:pt x="6235" y="12393"/>
                  <a:pt x="6655" y="12048"/>
                  <a:pt x="6961" y="11666"/>
                </a:cubicBezTo>
                <a:cubicBezTo>
                  <a:pt x="7611" y="10748"/>
                  <a:pt x="8376" y="9907"/>
                  <a:pt x="9103" y="9065"/>
                </a:cubicBezTo>
                <a:cubicBezTo>
                  <a:pt x="9179" y="8950"/>
                  <a:pt x="9256" y="8836"/>
                  <a:pt x="9332" y="8759"/>
                </a:cubicBezTo>
                <a:cubicBezTo>
                  <a:pt x="9715" y="8339"/>
                  <a:pt x="10136" y="7994"/>
                  <a:pt x="10518" y="7574"/>
                </a:cubicBezTo>
                <a:cubicBezTo>
                  <a:pt x="11053" y="6923"/>
                  <a:pt x="11627" y="6273"/>
                  <a:pt x="12201" y="5623"/>
                </a:cubicBezTo>
                <a:cubicBezTo>
                  <a:pt x="12736" y="5470"/>
                  <a:pt x="12813" y="4820"/>
                  <a:pt x="13272" y="4590"/>
                </a:cubicBezTo>
                <a:cubicBezTo>
                  <a:pt x="13272" y="4246"/>
                  <a:pt x="13692" y="4284"/>
                  <a:pt x="13845" y="4017"/>
                </a:cubicBezTo>
                <a:cubicBezTo>
                  <a:pt x="13960" y="3749"/>
                  <a:pt x="14190" y="3520"/>
                  <a:pt x="14419" y="3328"/>
                </a:cubicBezTo>
                <a:cubicBezTo>
                  <a:pt x="14610" y="3137"/>
                  <a:pt x="14802" y="3022"/>
                  <a:pt x="14878" y="2755"/>
                </a:cubicBezTo>
                <a:cubicBezTo>
                  <a:pt x="14916" y="2525"/>
                  <a:pt x="15146" y="2257"/>
                  <a:pt x="15337" y="2181"/>
                </a:cubicBezTo>
                <a:cubicBezTo>
                  <a:pt x="15911" y="1913"/>
                  <a:pt x="16217" y="1301"/>
                  <a:pt x="16752" y="1034"/>
                </a:cubicBezTo>
                <a:cubicBezTo>
                  <a:pt x="16829" y="728"/>
                  <a:pt x="17058" y="575"/>
                  <a:pt x="17288" y="422"/>
                </a:cubicBezTo>
                <a:cubicBezTo>
                  <a:pt x="17020" y="269"/>
                  <a:pt x="16790" y="116"/>
                  <a:pt x="16561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5" name="Google Shape;65;p15"/>
          <p:cNvSpPr/>
          <p:nvPr/>
        </p:nvSpPr>
        <p:spPr>
          <a:xfrm>
            <a:off x="754356" y="3372580"/>
            <a:ext cx="356813" cy="411225"/>
          </a:xfrm>
          <a:custGeom>
            <a:avLst/>
            <a:gdLst/>
            <a:ahLst/>
            <a:cxnLst/>
            <a:rect l="l" t="t" r="r" b="b"/>
            <a:pathLst>
              <a:path w="13043" h="15032" extrusionOk="0">
                <a:moveTo>
                  <a:pt x="12354" y="1"/>
                </a:moveTo>
                <a:cubicBezTo>
                  <a:pt x="12125" y="154"/>
                  <a:pt x="11934" y="307"/>
                  <a:pt x="11742" y="460"/>
                </a:cubicBezTo>
                <a:cubicBezTo>
                  <a:pt x="11742" y="460"/>
                  <a:pt x="11781" y="498"/>
                  <a:pt x="11781" y="536"/>
                </a:cubicBezTo>
                <a:cubicBezTo>
                  <a:pt x="11934" y="498"/>
                  <a:pt x="12048" y="460"/>
                  <a:pt x="12201" y="421"/>
                </a:cubicBezTo>
                <a:lnTo>
                  <a:pt x="12201" y="421"/>
                </a:lnTo>
                <a:cubicBezTo>
                  <a:pt x="12116" y="620"/>
                  <a:pt x="11989" y="798"/>
                  <a:pt x="11835" y="798"/>
                </a:cubicBezTo>
                <a:cubicBezTo>
                  <a:pt x="11781" y="798"/>
                  <a:pt x="11725" y="777"/>
                  <a:pt x="11666" y="727"/>
                </a:cubicBezTo>
                <a:cubicBezTo>
                  <a:pt x="11577" y="664"/>
                  <a:pt x="11513" y="638"/>
                  <a:pt x="11462" y="638"/>
                </a:cubicBezTo>
                <a:cubicBezTo>
                  <a:pt x="11360" y="638"/>
                  <a:pt x="11309" y="740"/>
                  <a:pt x="11207" y="842"/>
                </a:cubicBezTo>
                <a:cubicBezTo>
                  <a:pt x="11322" y="957"/>
                  <a:pt x="11436" y="1033"/>
                  <a:pt x="11475" y="1033"/>
                </a:cubicBezTo>
                <a:cubicBezTo>
                  <a:pt x="11283" y="1263"/>
                  <a:pt x="11130" y="1416"/>
                  <a:pt x="10939" y="1645"/>
                </a:cubicBezTo>
                <a:cubicBezTo>
                  <a:pt x="10863" y="1607"/>
                  <a:pt x="10710" y="1569"/>
                  <a:pt x="10557" y="1530"/>
                </a:cubicBezTo>
                <a:cubicBezTo>
                  <a:pt x="10213" y="1798"/>
                  <a:pt x="9907" y="2295"/>
                  <a:pt x="9792" y="2640"/>
                </a:cubicBezTo>
                <a:cubicBezTo>
                  <a:pt x="9754" y="2754"/>
                  <a:pt x="9639" y="2831"/>
                  <a:pt x="9524" y="2869"/>
                </a:cubicBezTo>
                <a:cubicBezTo>
                  <a:pt x="9501" y="2877"/>
                  <a:pt x="9478" y="2880"/>
                  <a:pt x="9455" y="2880"/>
                </a:cubicBezTo>
                <a:cubicBezTo>
                  <a:pt x="9362" y="2880"/>
                  <a:pt x="9264" y="2831"/>
                  <a:pt x="9142" y="2831"/>
                </a:cubicBezTo>
                <a:cubicBezTo>
                  <a:pt x="9142" y="2946"/>
                  <a:pt x="9180" y="3060"/>
                  <a:pt x="9142" y="3137"/>
                </a:cubicBezTo>
                <a:cubicBezTo>
                  <a:pt x="8912" y="3405"/>
                  <a:pt x="8683" y="3672"/>
                  <a:pt x="8644" y="4055"/>
                </a:cubicBezTo>
                <a:cubicBezTo>
                  <a:pt x="8644" y="4093"/>
                  <a:pt x="8491" y="4208"/>
                  <a:pt x="8415" y="4208"/>
                </a:cubicBezTo>
                <a:cubicBezTo>
                  <a:pt x="7994" y="4208"/>
                  <a:pt x="7688" y="4475"/>
                  <a:pt x="7612" y="4781"/>
                </a:cubicBezTo>
                <a:cubicBezTo>
                  <a:pt x="7535" y="5087"/>
                  <a:pt x="7344" y="5049"/>
                  <a:pt x="7191" y="5126"/>
                </a:cubicBezTo>
                <a:cubicBezTo>
                  <a:pt x="7229" y="5240"/>
                  <a:pt x="7268" y="5393"/>
                  <a:pt x="7268" y="5546"/>
                </a:cubicBezTo>
                <a:cubicBezTo>
                  <a:pt x="7076" y="5585"/>
                  <a:pt x="6885" y="5623"/>
                  <a:pt x="6732" y="5661"/>
                </a:cubicBezTo>
                <a:cubicBezTo>
                  <a:pt x="6885" y="6120"/>
                  <a:pt x="6464" y="6043"/>
                  <a:pt x="6311" y="6196"/>
                </a:cubicBezTo>
                <a:cubicBezTo>
                  <a:pt x="6350" y="6235"/>
                  <a:pt x="6388" y="6273"/>
                  <a:pt x="6464" y="6388"/>
                </a:cubicBezTo>
                <a:cubicBezTo>
                  <a:pt x="6197" y="6579"/>
                  <a:pt x="5891" y="6770"/>
                  <a:pt x="5585" y="7000"/>
                </a:cubicBezTo>
                <a:cubicBezTo>
                  <a:pt x="5623" y="7114"/>
                  <a:pt x="5661" y="7306"/>
                  <a:pt x="5699" y="7535"/>
                </a:cubicBezTo>
                <a:cubicBezTo>
                  <a:pt x="5546" y="7459"/>
                  <a:pt x="5470" y="7382"/>
                  <a:pt x="5432" y="7382"/>
                </a:cubicBezTo>
                <a:cubicBezTo>
                  <a:pt x="5241" y="7612"/>
                  <a:pt x="5088" y="7918"/>
                  <a:pt x="4858" y="7994"/>
                </a:cubicBezTo>
                <a:cubicBezTo>
                  <a:pt x="4552" y="8071"/>
                  <a:pt x="4552" y="8338"/>
                  <a:pt x="4399" y="8491"/>
                </a:cubicBezTo>
                <a:cubicBezTo>
                  <a:pt x="4629" y="8797"/>
                  <a:pt x="4131" y="8912"/>
                  <a:pt x="4170" y="9218"/>
                </a:cubicBezTo>
                <a:cubicBezTo>
                  <a:pt x="4170" y="9218"/>
                  <a:pt x="4085" y="9302"/>
                  <a:pt x="4061" y="9302"/>
                </a:cubicBezTo>
                <a:cubicBezTo>
                  <a:pt x="4057" y="9302"/>
                  <a:pt x="4055" y="9300"/>
                  <a:pt x="4055" y="9294"/>
                </a:cubicBezTo>
                <a:cubicBezTo>
                  <a:pt x="3987" y="9249"/>
                  <a:pt x="3929" y="9230"/>
                  <a:pt x="3878" y="9230"/>
                </a:cubicBezTo>
                <a:cubicBezTo>
                  <a:pt x="3674" y="9230"/>
                  <a:pt x="3589" y="9531"/>
                  <a:pt x="3405" y="9562"/>
                </a:cubicBezTo>
                <a:cubicBezTo>
                  <a:pt x="3366" y="9562"/>
                  <a:pt x="3328" y="9639"/>
                  <a:pt x="3328" y="9677"/>
                </a:cubicBezTo>
                <a:cubicBezTo>
                  <a:pt x="3443" y="9715"/>
                  <a:pt x="3519" y="9753"/>
                  <a:pt x="3634" y="9792"/>
                </a:cubicBezTo>
                <a:cubicBezTo>
                  <a:pt x="3510" y="9947"/>
                  <a:pt x="3436" y="10177"/>
                  <a:pt x="3229" y="10177"/>
                </a:cubicBezTo>
                <a:cubicBezTo>
                  <a:pt x="3181" y="10177"/>
                  <a:pt x="3126" y="10165"/>
                  <a:pt x="3061" y="10136"/>
                </a:cubicBezTo>
                <a:cubicBezTo>
                  <a:pt x="3050" y="10131"/>
                  <a:pt x="3038" y="10128"/>
                  <a:pt x="3025" y="10128"/>
                </a:cubicBezTo>
                <a:cubicBezTo>
                  <a:pt x="2944" y="10128"/>
                  <a:pt x="2826" y="10223"/>
                  <a:pt x="2793" y="10289"/>
                </a:cubicBezTo>
                <a:cubicBezTo>
                  <a:pt x="2755" y="10404"/>
                  <a:pt x="2984" y="10557"/>
                  <a:pt x="2755" y="10710"/>
                </a:cubicBezTo>
                <a:cubicBezTo>
                  <a:pt x="2716" y="10748"/>
                  <a:pt x="2755" y="10939"/>
                  <a:pt x="2755" y="11092"/>
                </a:cubicBezTo>
                <a:cubicBezTo>
                  <a:pt x="2640" y="11015"/>
                  <a:pt x="2525" y="10939"/>
                  <a:pt x="2372" y="10862"/>
                </a:cubicBezTo>
                <a:lnTo>
                  <a:pt x="2372" y="10862"/>
                </a:lnTo>
                <a:cubicBezTo>
                  <a:pt x="2410" y="11015"/>
                  <a:pt x="2449" y="11130"/>
                  <a:pt x="2449" y="11283"/>
                </a:cubicBezTo>
                <a:cubicBezTo>
                  <a:pt x="2334" y="11360"/>
                  <a:pt x="2219" y="11436"/>
                  <a:pt x="2104" y="11551"/>
                </a:cubicBezTo>
                <a:cubicBezTo>
                  <a:pt x="2104" y="11474"/>
                  <a:pt x="2066" y="11398"/>
                  <a:pt x="1990" y="11245"/>
                </a:cubicBezTo>
                <a:cubicBezTo>
                  <a:pt x="1913" y="12086"/>
                  <a:pt x="1569" y="12660"/>
                  <a:pt x="842" y="12890"/>
                </a:cubicBezTo>
                <a:cubicBezTo>
                  <a:pt x="880" y="13081"/>
                  <a:pt x="957" y="13195"/>
                  <a:pt x="957" y="13348"/>
                </a:cubicBezTo>
                <a:cubicBezTo>
                  <a:pt x="880" y="13654"/>
                  <a:pt x="575" y="13616"/>
                  <a:pt x="383" y="13693"/>
                </a:cubicBezTo>
                <a:cubicBezTo>
                  <a:pt x="383" y="13884"/>
                  <a:pt x="383" y="14037"/>
                  <a:pt x="422" y="14228"/>
                </a:cubicBezTo>
                <a:cubicBezTo>
                  <a:pt x="230" y="14152"/>
                  <a:pt x="116" y="14113"/>
                  <a:pt x="1" y="14075"/>
                </a:cubicBezTo>
                <a:lnTo>
                  <a:pt x="1" y="14075"/>
                </a:lnTo>
                <a:cubicBezTo>
                  <a:pt x="77" y="14381"/>
                  <a:pt x="192" y="14649"/>
                  <a:pt x="269" y="15031"/>
                </a:cubicBezTo>
                <a:cubicBezTo>
                  <a:pt x="460" y="14840"/>
                  <a:pt x="613" y="14725"/>
                  <a:pt x="727" y="14572"/>
                </a:cubicBezTo>
                <a:cubicBezTo>
                  <a:pt x="804" y="14458"/>
                  <a:pt x="842" y="14266"/>
                  <a:pt x="919" y="14266"/>
                </a:cubicBezTo>
                <a:cubicBezTo>
                  <a:pt x="1301" y="14190"/>
                  <a:pt x="1263" y="13731"/>
                  <a:pt x="1569" y="13654"/>
                </a:cubicBezTo>
                <a:cubicBezTo>
                  <a:pt x="1875" y="13540"/>
                  <a:pt x="1798" y="13043"/>
                  <a:pt x="2219" y="13043"/>
                </a:cubicBezTo>
                <a:cubicBezTo>
                  <a:pt x="2257" y="13043"/>
                  <a:pt x="2257" y="12928"/>
                  <a:pt x="2296" y="12851"/>
                </a:cubicBezTo>
                <a:cubicBezTo>
                  <a:pt x="2449" y="12698"/>
                  <a:pt x="2525" y="12507"/>
                  <a:pt x="2678" y="12354"/>
                </a:cubicBezTo>
                <a:cubicBezTo>
                  <a:pt x="2869" y="12163"/>
                  <a:pt x="3099" y="12048"/>
                  <a:pt x="3137" y="11704"/>
                </a:cubicBezTo>
                <a:cubicBezTo>
                  <a:pt x="3137" y="11627"/>
                  <a:pt x="3290" y="11513"/>
                  <a:pt x="3366" y="11398"/>
                </a:cubicBezTo>
                <a:cubicBezTo>
                  <a:pt x="3519" y="11283"/>
                  <a:pt x="3672" y="11168"/>
                  <a:pt x="3787" y="11015"/>
                </a:cubicBezTo>
                <a:cubicBezTo>
                  <a:pt x="3902" y="10901"/>
                  <a:pt x="3978" y="10710"/>
                  <a:pt x="4093" y="10595"/>
                </a:cubicBezTo>
                <a:cubicBezTo>
                  <a:pt x="4208" y="10480"/>
                  <a:pt x="4399" y="10365"/>
                  <a:pt x="4437" y="10212"/>
                </a:cubicBezTo>
                <a:cubicBezTo>
                  <a:pt x="4590" y="9830"/>
                  <a:pt x="5202" y="9753"/>
                  <a:pt x="5164" y="9218"/>
                </a:cubicBezTo>
                <a:cubicBezTo>
                  <a:pt x="5508" y="9027"/>
                  <a:pt x="5738" y="8682"/>
                  <a:pt x="5967" y="8376"/>
                </a:cubicBezTo>
                <a:cubicBezTo>
                  <a:pt x="6503" y="7688"/>
                  <a:pt x="7306" y="7229"/>
                  <a:pt x="7650" y="6388"/>
                </a:cubicBezTo>
                <a:cubicBezTo>
                  <a:pt x="7650" y="6349"/>
                  <a:pt x="7688" y="6311"/>
                  <a:pt x="7727" y="6311"/>
                </a:cubicBezTo>
                <a:cubicBezTo>
                  <a:pt x="8224" y="6120"/>
                  <a:pt x="8453" y="5661"/>
                  <a:pt x="8759" y="5317"/>
                </a:cubicBezTo>
                <a:cubicBezTo>
                  <a:pt x="9256" y="4705"/>
                  <a:pt x="9830" y="4169"/>
                  <a:pt x="10327" y="3596"/>
                </a:cubicBezTo>
                <a:cubicBezTo>
                  <a:pt x="10671" y="3213"/>
                  <a:pt x="11130" y="2907"/>
                  <a:pt x="11360" y="2448"/>
                </a:cubicBezTo>
                <a:cubicBezTo>
                  <a:pt x="11513" y="2142"/>
                  <a:pt x="11819" y="2104"/>
                  <a:pt x="11972" y="1875"/>
                </a:cubicBezTo>
                <a:cubicBezTo>
                  <a:pt x="12240" y="1454"/>
                  <a:pt x="12698" y="1263"/>
                  <a:pt x="12851" y="766"/>
                </a:cubicBezTo>
                <a:cubicBezTo>
                  <a:pt x="12851" y="689"/>
                  <a:pt x="12966" y="689"/>
                  <a:pt x="13043" y="651"/>
                </a:cubicBezTo>
                <a:cubicBezTo>
                  <a:pt x="12966" y="230"/>
                  <a:pt x="12737" y="39"/>
                  <a:pt x="12354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6" name="Google Shape;66;p15"/>
          <p:cNvSpPr/>
          <p:nvPr/>
        </p:nvSpPr>
        <p:spPr>
          <a:xfrm>
            <a:off x="1370621" y="3847599"/>
            <a:ext cx="450975" cy="467224"/>
          </a:xfrm>
          <a:custGeom>
            <a:avLst/>
            <a:gdLst/>
            <a:ahLst/>
            <a:cxnLst/>
            <a:rect l="l" t="t" r="r" b="b"/>
            <a:pathLst>
              <a:path w="16485" h="17079" extrusionOk="0">
                <a:moveTo>
                  <a:pt x="16102" y="0"/>
                </a:moveTo>
                <a:cubicBezTo>
                  <a:pt x="15796" y="306"/>
                  <a:pt x="15605" y="651"/>
                  <a:pt x="15261" y="880"/>
                </a:cubicBezTo>
                <a:cubicBezTo>
                  <a:pt x="14764" y="1262"/>
                  <a:pt x="14496" y="1874"/>
                  <a:pt x="13922" y="2180"/>
                </a:cubicBezTo>
                <a:cubicBezTo>
                  <a:pt x="13655" y="2754"/>
                  <a:pt x="13196" y="3098"/>
                  <a:pt x="12698" y="3442"/>
                </a:cubicBezTo>
                <a:cubicBezTo>
                  <a:pt x="12698" y="3442"/>
                  <a:pt x="12660" y="3442"/>
                  <a:pt x="12660" y="3481"/>
                </a:cubicBezTo>
                <a:cubicBezTo>
                  <a:pt x="12201" y="3978"/>
                  <a:pt x="11780" y="4475"/>
                  <a:pt x="11207" y="4934"/>
                </a:cubicBezTo>
                <a:cubicBezTo>
                  <a:pt x="10557" y="5431"/>
                  <a:pt x="10021" y="6120"/>
                  <a:pt x="9447" y="6732"/>
                </a:cubicBezTo>
                <a:cubicBezTo>
                  <a:pt x="9103" y="7038"/>
                  <a:pt x="8797" y="7382"/>
                  <a:pt x="8453" y="7650"/>
                </a:cubicBezTo>
                <a:cubicBezTo>
                  <a:pt x="8224" y="7879"/>
                  <a:pt x="8071" y="8185"/>
                  <a:pt x="7726" y="8300"/>
                </a:cubicBezTo>
                <a:cubicBezTo>
                  <a:pt x="7595" y="8365"/>
                  <a:pt x="7746" y="8713"/>
                  <a:pt x="7524" y="8713"/>
                </a:cubicBezTo>
                <a:cubicBezTo>
                  <a:pt x="7488" y="8713"/>
                  <a:pt x="7442" y="8704"/>
                  <a:pt x="7382" y="8682"/>
                </a:cubicBezTo>
                <a:cubicBezTo>
                  <a:pt x="7191" y="9141"/>
                  <a:pt x="6656" y="9294"/>
                  <a:pt x="6426" y="9715"/>
                </a:cubicBezTo>
                <a:cubicBezTo>
                  <a:pt x="6311" y="9944"/>
                  <a:pt x="6197" y="10174"/>
                  <a:pt x="6005" y="10289"/>
                </a:cubicBezTo>
                <a:cubicBezTo>
                  <a:pt x="5432" y="10747"/>
                  <a:pt x="5087" y="11398"/>
                  <a:pt x="4475" y="11818"/>
                </a:cubicBezTo>
                <a:cubicBezTo>
                  <a:pt x="4322" y="11933"/>
                  <a:pt x="4208" y="12086"/>
                  <a:pt x="4131" y="12277"/>
                </a:cubicBezTo>
                <a:cubicBezTo>
                  <a:pt x="4017" y="12430"/>
                  <a:pt x="3978" y="12622"/>
                  <a:pt x="3711" y="12660"/>
                </a:cubicBezTo>
                <a:cubicBezTo>
                  <a:pt x="3672" y="12660"/>
                  <a:pt x="3634" y="12736"/>
                  <a:pt x="3596" y="12774"/>
                </a:cubicBezTo>
                <a:cubicBezTo>
                  <a:pt x="3252" y="13233"/>
                  <a:pt x="2869" y="13692"/>
                  <a:pt x="2525" y="14151"/>
                </a:cubicBezTo>
                <a:cubicBezTo>
                  <a:pt x="2448" y="14190"/>
                  <a:pt x="2372" y="14266"/>
                  <a:pt x="2295" y="14266"/>
                </a:cubicBezTo>
                <a:cubicBezTo>
                  <a:pt x="1934" y="14338"/>
                  <a:pt x="2085" y="14923"/>
                  <a:pt x="1684" y="14923"/>
                </a:cubicBezTo>
                <a:cubicBezTo>
                  <a:pt x="1660" y="14923"/>
                  <a:pt x="1635" y="14921"/>
                  <a:pt x="1607" y="14916"/>
                </a:cubicBezTo>
                <a:cubicBezTo>
                  <a:pt x="1607" y="15069"/>
                  <a:pt x="1607" y="15184"/>
                  <a:pt x="1492" y="15337"/>
                </a:cubicBezTo>
                <a:cubicBezTo>
                  <a:pt x="995" y="15834"/>
                  <a:pt x="498" y="16370"/>
                  <a:pt x="1" y="16867"/>
                </a:cubicBezTo>
                <a:cubicBezTo>
                  <a:pt x="167" y="17012"/>
                  <a:pt x="377" y="17078"/>
                  <a:pt x="566" y="17078"/>
                </a:cubicBezTo>
                <a:cubicBezTo>
                  <a:pt x="726" y="17078"/>
                  <a:pt x="869" y="17031"/>
                  <a:pt x="957" y="16943"/>
                </a:cubicBezTo>
                <a:cubicBezTo>
                  <a:pt x="1378" y="16484"/>
                  <a:pt x="2028" y="16255"/>
                  <a:pt x="2219" y="15605"/>
                </a:cubicBezTo>
                <a:cubicBezTo>
                  <a:pt x="2219" y="15605"/>
                  <a:pt x="2287" y="15622"/>
                  <a:pt x="2332" y="15622"/>
                </a:cubicBezTo>
                <a:cubicBezTo>
                  <a:pt x="2355" y="15622"/>
                  <a:pt x="2372" y="15617"/>
                  <a:pt x="2372" y="15605"/>
                </a:cubicBezTo>
                <a:cubicBezTo>
                  <a:pt x="2525" y="15413"/>
                  <a:pt x="2716" y="15260"/>
                  <a:pt x="2831" y="14993"/>
                </a:cubicBezTo>
                <a:cubicBezTo>
                  <a:pt x="2907" y="14763"/>
                  <a:pt x="3252" y="14610"/>
                  <a:pt x="3519" y="14419"/>
                </a:cubicBezTo>
                <a:cubicBezTo>
                  <a:pt x="3443" y="13960"/>
                  <a:pt x="3940" y="13960"/>
                  <a:pt x="4131" y="13731"/>
                </a:cubicBezTo>
                <a:cubicBezTo>
                  <a:pt x="4208" y="13616"/>
                  <a:pt x="4437" y="13539"/>
                  <a:pt x="4437" y="13501"/>
                </a:cubicBezTo>
                <a:cubicBezTo>
                  <a:pt x="4361" y="13195"/>
                  <a:pt x="4628" y="13119"/>
                  <a:pt x="4743" y="12966"/>
                </a:cubicBezTo>
                <a:cubicBezTo>
                  <a:pt x="4896" y="12813"/>
                  <a:pt x="5164" y="12660"/>
                  <a:pt x="5240" y="12469"/>
                </a:cubicBezTo>
                <a:cubicBezTo>
                  <a:pt x="5317" y="12277"/>
                  <a:pt x="5623" y="12277"/>
                  <a:pt x="5623" y="12010"/>
                </a:cubicBezTo>
                <a:cubicBezTo>
                  <a:pt x="5623" y="11895"/>
                  <a:pt x="6044" y="11895"/>
                  <a:pt x="5929" y="11589"/>
                </a:cubicBezTo>
                <a:cubicBezTo>
                  <a:pt x="6350" y="11474"/>
                  <a:pt x="6388" y="11015"/>
                  <a:pt x="6617" y="10786"/>
                </a:cubicBezTo>
                <a:cubicBezTo>
                  <a:pt x="6732" y="10824"/>
                  <a:pt x="6770" y="10862"/>
                  <a:pt x="6808" y="10900"/>
                </a:cubicBezTo>
                <a:cubicBezTo>
                  <a:pt x="6961" y="10747"/>
                  <a:pt x="7229" y="10594"/>
                  <a:pt x="7229" y="10441"/>
                </a:cubicBezTo>
                <a:cubicBezTo>
                  <a:pt x="7191" y="10097"/>
                  <a:pt x="7497" y="10059"/>
                  <a:pt x="7612" y="9906"/>
                </a:cubicBezTo>
                <a:cubicBezTo>
                  <a:pt x="7765" y="9715"/>
                  <a:pt x="7803" y="9447"/>
                  <a:pt x="8147" y="9447"/>
                </a:cubicBezTo>
                <a:cubicBezTo>
                  <a:pt x="8185" y="9447"/>
                  <a:pt x="8300" y="9256"/>
                  <a:pt x="8300" y="9218"/>
                </a:cubicBezTo>
                <a:cubicBezTo>
                  <a:pt x="8147" y="8873"/>
                  <a:pt x="8377" y="8720"/>
                  <a:pt x="8606" y="8644"/>
                </a:cubicBezTo>
                <a:cubicBezTo>
                  <a:pt x="8729" y="8613"/>
                  <a:pt x="8728" y="8410"/>
                  <a:pt x="8862" y="8410"/>
                </a:cubicBezTo>
                <a:cubicBezTo>
                  <a:pt x="8895" y="8410"/>
                  <a:pt x="8936" y="8422"/>
                  <a:pt x="8989" y="8453"/>
                </a:cubicBezTo>
                <a:cubicBezTo>
                  <a:pt x="9015" y="8460"/>
                  <a:pt x="9038" y="8464"/>
                  <a:pt x="9059" y="8464"/>
                </a:cubicBezTo>
                <a:cubicBezTo>
                  <a:pt x="9250" y="8464"/>
                  <a:pt x="9229" y="8174"/>
                  <a:pt x="9333" y="8070"/>
                </a:cubicBezTo>
                <a:cubicBezTo>
                  <a:pt x="9486" y="7917"/>
                  <a:pt x="9639" y="7803"/>
                  <a:pt x="9792" y="7650"/>
                </a:cubicBezTo>
                <a:cubicBezTo>
                  <a:pt x="9945" y="7497"/>
                  <a:pt x="10059" y="7305"/>
                  <a:pt x="10212" y="7114"/>
                </a:cubicBezTo>
                <a:cubicBezTo>
                  <a:pt x="10327" y="6961"/>
                  <a:pt x="10518" y="6808"/>
                  <a:pt x="10671" y="6655"/>
                </a:cubicBezTo>
                <a:cubicBezTo>
                  <a:pt x="10786" y="6540"/>
                  <a:pt x="10824" y="6349"/>
                  <a:pt x="10977" y="6234"/>
                </a:cubicBezTo>
                <a:cubicBezTo>
                  <a:pt x="11589" y="5661"/>
                  <a:pt x="12201" y="5164"/>
                  <a:pt x="12660" y="4475"/>
                </a:cubicBezTo>
                <a:cubicBezTo>
                  <a:pt x="12660" y="4437"/>
                  <a:pt x="12698" y="4437"/>
                  <a:pt x="12737" y="4437"/>
                </a:cubicBezTo>
                <a:cubicBezTo>
                  <a:pt x="13387" y="3863"/>
                  <a:pt x="13884" y="3098"/>
                  <a:pt x="14649" y="2639"/>
                </a:cubicBezTo>
                <a:cubicBezTo>
                  <a:pt x="14764" y="2563"/>
                  <a:pt x="14840" y="2410"/>
                  <a:pt x="14917" y="2257"/>
                </a:cubicBezTo>
                <a:cubicBezTo>
                  <a:pt x="15031" y="1951"/>
                  <a:pt x="15184" y="1721"/>
                  <a:pt x="15529" y="1607"/>
                </a:cubicBezTo>
                <a:cubicBezTo>
                  <a:pt x="15643" y="1568"/>
                  <a:pt x="15796" y="1454"/>
                  <a:pt x="15796" y="1377"/>
                </a:cubicBezTo>
                <a:cubicBezTo>
                  <a:pt x="15911" y="1071"/>
                  <a:pt x="16141" y="918"/>
                  <a:pt x="16293" y="689"/>
                </a:cubicBezTo>
                <a:cubicBezTo>
                  <a:pt x="16485" y="459"/>
                  <a:pt x="16485" y="383"/>
                  <a:pt x="16102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7" name="Google Shape;67;p15"/>
          <p:cNvSpPr/>
          <p:nvPr/>
        </p:nvSpPr>
        <p:spPr>
          <a:xfrm>
            <a:off x="1083950" y="3557783"/>
            <a:ext cx="418529" cy="445723"/>
          </a:xfrm>
          <a:custGeom>
            <a:avLst/>
            <a:gdLst/>
            <a:ahLst/>
            <a:cxnLst/>
            <a:rect l="l" t="t" r="r" b="b"/>
            <a:pathLst>
              <a:path w="15299" h="16293" extrusionOk="0">
                <a:moveTo>
                  <a:pt x="14687" y="0"/>
                </a:moveTo>
                <a:cubicBezTo>
                  <a:pt x="14228" y="306"/>
                  <a:pt x="14228" y="306"/>
                  <a:pt x="14151" y="765"/>
                </a:cubicBezTo>
                <a:cubicBezTo>
                  <a:pt x="14075" y="689"/>
                  <a:pt x="13998" y="650"/>
                  <a:pt x="13922" y="612"/>
                </a:cubicBezTo>
                <a:cubicBezTo>
                  <a:pt x="13807" y="689"/>
                  <a:pt x="13731" y="803"/>
                  <a:pt x="13616" y="880"/>
                </a:cubicBezTo>
                <a:cubicBezTo>
                  <a:pt x="13310" y="995"/>
                  <a:pt x="13157" y="1186"/>
                  <a:pt x="13348" y="1530"/>
                </a:cubicBezTo>
                <a:cubicBezTo>
                  <a:pt x="13136" y="1672"/>
                  <a:pt x="12924" y="1878"/>
                  <a:pt x="12802" y="1878"/>
                </a:cubicBezTo>
                <a:cubicBezTo>
                  <a:pt x="12792" y="1878"/>
                  <a:pt x="12783" y="1877"/>
                  <a:pt x="12774" y="1874"/>
                </a:cubicBezTo>
                <a:cubicBezTo>
                  <a:pt x="12722" y="1857"/>
                  <a:pt x="12677" y="1849"/>
                  <a:pt x="12639" y="1849"/>
                </a:cubicBezTo>
                <a:cubicBezTo>
                  <a:pt x="12428" y="1849"/>
                  <a:pt x="12413" y="2083"/>
                  <a:pt x="12316" y="2180"/>
                </a:cubicBezTo>
                <a:cubicBezTo>
                  <a:pt x="12086" y="2448"/>
                  <a:pt x="11933" y="2792"/>
                  <a:pt x="11742" y="3098"/>
                </a:cubicBezTo>
                <a:cubicBezTo>
                  <a:pt x="11589" y="2983"/>
                  <a:pt x="11512" y="2945"/>
                  <a:pt x="11359" y="2830"/>
                </a:cubicBezTo>
                <a:lnTo>
                  <a:pt x="11359" y="2830"/>
                </a:lnTo>
                <a:cubicBezTo>
                  <a:pt x="11423" y="3368"/>
                  <a:pt x="11198" y="3540"/>
                  <a:pt x="10794" y="3540"/>
                </a:cubicBezTo>
                <a:cubicBezTo>
                  <a:pt x="10710" y="3540"/>
                  <a:pt x="10617" y="3532"/>
                  <a:pt x="10518" y="3519"/>
                </a:cubicBezTo>
                <a:lnTo>
                  <a:pt x="10518" y="3519"/>
                </a:lnTo>
                <a:cubicBezTo>
                  <a:pt x="10747" y="3634"/>
                  <a:pt x="10824" y="3672"/>
                  <a:pt x="10939" y="3710"/>
                </a:cubicBezTo>
                <a:cubicBezTo>
                  <a:pt x="10685" y="3710"/>
                  <a:pt x="10603" y="4019"/>
                  <a:pt x="10530" y="4019"/>
                </a:cubicBezTo>
                <a:cubicBezTo>
                  <a:pt x="10526" y="4019"/>
                  <a:pt x="10522" y="4018"/>
                  <a:pt x="10518" y="4016"/>
                </a:cubicBezTo>
                <a:cubicBezTo>
                  <a:pt x="10496" y="4014"/>
                  <a:pt x="10476" y="4013"/>
                  <a:pt x="10457" y="4013"/>
                </a:cubicBezTo>
                <a:cubicBezTo>
                  <a:pt x="10161" y="4013"/>
                  <a:pt x="10363" y="4290"/>
                  <a:pt x="10327" y="4398"/>
                </a:cubicBezTo>
                <a:cubicBezTo>
                  <a:pt x="9677" y="4475"/>
                  <a:pt x="9524" y="5240"/>
                  <a:pt x="8950" y="5355"/>
                </a:cubicBezTo>
                <a:cubicBezTo>
                  <a:pt x="8988" y="5546"/>
                  <a:pt x="9026" y="5661"/>
                  <a:pt x="9026" y="5699"/>
                </a:cubicBezTo>
                <a:cubicBezTo>
                  <a:pt x="8873" y="5890"/>
                  <a:pt x="8720" y="6043"/>
                  <a:pt x="8606" y="6196"/>
                </a:cubicBezTo>
                <a:cubicBezTo>
                  <a:pt x="8551" y="6277"/>
                  <a:pt x="8487" y="6301"/>
                  <a:pt x="8417" y="6301"/>
                </a:cubicBezTo>
                <a:cubicBezTo>
                  <a:pt x="8320" y="6301"/>
                  <a:pt x="8212" y="6256"/>
                  <a:pt x="8100" y="6256"/>
                </a:cubicBezTo>
                <a:cubicBezTo>
                  <a:pt x="8065" y="6256"/>
                  <a:pt x="8029" y="6261"/>
                  <a:pt x="7994" y="6273"/>
                </a:cubicBezTo>
                <a:cubicBezTo>
                  <a:pt x="8070" y="6425"/>
                  <a:pt x="8185" y="6540"/>
                  <a:pt x="8300" y="6693"/>
                </a:cubicBezTo>
                <a:cubicBezTo>
                  <a:pt x="8238" y="6679"/>
                  <a:pt x="8185" y="6672"/>
                  <a:pt x="8138" y="6672"/>
                </a:cubicBezTo>
                <a:cubicBezTo>
                  <a:pt x="7694" y="6672"/>
                  <a:pt x="7881" y="7274"/>
                  <a:pt x="7535" y="7343"/>
                </a:cubicBezTo>
                <a:cubicBezTo>
                  <a:pt x="7458" y="7267"/>
                  <a:pt x="7382" y="7152"/>
                  <a:pt x="7229" y="6923"/>
                </a:cubicBezTo>
                <a:lnTo>
                  <a:pt x="7229" y="6923"/>
                </a:lnTo>
                <a:cubicBezTo>
                  <a:pt x="7267" y="7190"/>
                  <a:pt x="6961" y="7076"/>
                  <a:pt x="7076" y="7343"/>
                </a:cubicBezTo>
                <a:cubicBezTo>
                  <a:pt x="7152" y="7573"/>
                  <a:pt x="6999" y="7802"/>
                  <a:pt x="6770" y="7802"/>
                </a:cubicBezTo>
                <a:cubicBezTo>
                  <a:pt x="6540" y="7841"/>
                  <a:pt x="6655" y="7955"/>
                  <a:pt x="6655" y="8070"/>
                </a:cubicBezTo>
                <a:cubicBezTo>
                  <a:pt x="6617" y="8147"/>
                  <a:pt x="6579" y="8300"/>
                  <a:pt x="6540" y="8300"/>
                </a:cubicBezTo>
                <a:cubicBezTo>
                  <a:pt x="6524" y="8298"/>
                  <a:pt x="6508" y="8297"/>
                  <a:pt x="6493" y="8297"/>
                </a:cubicBezTo>
                <a:cubicBezTo>
                  <a:pt x="6157" y="8297"/>
                  <a:pt x="6146" y="8687"/>
                  <a:pt x="5890" y="8797"/>
                </a:cubicBezTo>
                <a:cubicBezTo>
                  <a:pt x="5699" y="8835"/>
                  <a:pt x="5546" y="8950"/>
                  <a:pt x="5661" y="9179"/>
                </a:cubicBezTo>
                <a:cubicBezTo>
                  <a:pt x="5661" y="9217"/>
                  <a:pt x="5546" y="9332"/>
                  <a:pt x="5508" y="9332"/>
                </a:cubicBezTo>
                <a:cubicBezTo>
                  <a:pt x="5087" y="9409"/>
                  <a:pt x="4972" y="9447"/>
                  <a:pt x="4934" y="9638"/>
                </a:cubicBezTo>
                <a:cubicBezTo>
                  <a:pt x="4896" y="10021"/>
                  <a:pt x="4590" y="10212"/>
                  <a:pt x="4360" y="10441"/>
                </a:cubicBezTo>
                <a:cubicBezTo>
                  <a:pt x="4169" y="10633"/>
                  <a:pt x="3978" y="10786"/>
                  <a:pt x="4054" y="11053"/>
                </a:cubicBezTo>
                <a:cubicBezTo>
                  <a:pt x="4054" y="11092"/>
                  <a:pt x="4016" y="11130"/>
                  <a:pt x="3940" y="11168"/>
                </a:cubicBezTo>
                <a:cubicBezTo>
                  <a:pt x="3863" y="11053"/>
                  <a:pt x="3825" y="10939"/>
                  <a:pt x="3787" y="10862"/>
                </a:cubicBezTo>
                <a:cubicBezTo>
                  <a:pt x="3672" y="11015"/>
                  <a:pt x="3595" y="11168"/>
                  <a:pt x="3519" y="11283"/>
                </a:cubicBezTo>
                <a:cubicBezTo>
                  <a:pt x="3557" y="11359"/>
                  <a:pt x="3595" y="11436"/>
                  <a:pt x="3672" y="11550"/>
                </a:cubicBezTo>
                <a:cubicBezTo>
                  <a:pt x="3328" y="11665"/>
                  <a:pt x="3366" y="12162"/>
                  <a:pt x="2945" y="12239"/>
                </a:cubicBezTo>
                <a:cubicBezTo>
                  <a:pt x="2945" y="12124"/>
                  <a:pt x="2945" y="12048"/>
                  <a:pt x="2945" y="12009"/>
                </a:cubicBezTo>
                <a:cubicBezTo>
                  <a:pt x="2869" y="12201"/>
                  <a:pt x="2486" y="12277"/>
                  <a:pt x="2678" y="12583"/>
                </a:cubicBezTo>
                <a:cubicBezTo>
                  <a:pt x="2713" y="12655"/>
                  <a:pt x="2616" y="12893"/>
                  <a:pt x="2384" y="12893"/>
                </a:cubicBezTo>
                <a:cubicBezTo>
                  <a:pt x="2368" y="12893"/>
                  <a:pt x="2351" y="12892"/>
                  <a:pt x="2333" y="12889"/>
                </a:cubicBezTo>
                <a:lnTo>
                  <a:pt x="2142" y="12889"/>
                </a:lnTo>
                <a:cubicBezTo>
                  <a:pt x="1989" y="13272"/>
                  <a:pt x="1913" y="13616"/>
                  <a:pt x="1798" y="13960"/>
                </a:cubicBezTo>
                <a:cubicBezTo>
                  <a:pt x="1607" y="13922"/>
                  <a:pt x="1492" y="13922"/>
                  <a:pt x="1301" y="13883"/>
                </a:cubicBezTo>
                <a:cubicBezTo>
                  <a:pt x="1186" y="14189"/>
                  <a:pt x="1033" y="14457"/>
                  <a:pt x="995" y="14763"/>
                </a:cubicBezTo>
                <a:cubicBezTo>
                  <a:pt x="956" y="14954"/>
                  <a:pt x="880" y="15107"/>
                  <a:pt x="727" y="15146"/>
                </a:cubicBezTo>
                <a:cubicBezTo>
                  <a:pt x="153" y="15299"/>
                  <a:pt x="192" y="15758"/>
                  <a:pt x="0" y="16293"/>
                </a:cubicBezTo>
                <a:cubicBezTo>
                  <a:pt x="306" y="16064"/>
                  <a:pt x="498" y="15949"/>
                  <a:pt x="689" y="15796"/>
                </a:cubicBezTo>
                <a:cubicBezTo>
                  <a:pt x="842" y="15681"/>
                  <a:pt x="956" y="15528"/>
                  <a:pt x="1071" y="15375"/>
                </a:cubicBezTo>
                <a:cubicBezTo>
                  <a:pt x="1224" y="15260"/>
                  <a:pt x="1339" y="15107"/>
                  <a:pt x="1415" y="14916"/>
                </a:cubicBezTo>
                <a:cubicBezTo>
                  <a:pt x="1492" y="14687"/>
                  <a:pt x="1721" y="14840"/>
                  <a:pt x="1836" y="14687"/>
                </a:cubicBezTo>
                <a:cubicBezTo>
                  <a:pt x="1913" y="14572"/>
                  <a:pt x="1989" y="14419"/>
                  <a:pt x="2066" y="14304"/>
                </a:cubicBezTo>
                <a:cubicBezTo>
                  <a:pt x="2219" y="14151"/>
                  <a:pt x="2333" y="13845"/>
                  <a:pt x="2486" y="13807"/>
                </a:cubicBezTo>
                <a:cubicBezTo>
                  <a:pt x="2869" y="13807"/>
                  <a:pt x="2907" y="13386"/>
                  <a:pt x="3175" y="13310"/>
                </a:cubicBezTo>
                <a:cubicBezTo>
                  <a:pt x="3328" y="13233"/>
                  <a:pt x="2983" y="13119"/>
                  <a:pt x="3213" y="13004"/>
                </a:cubicBezTo>
                <a:cubicBezTo>
                  <a:pt x="3481" y="12927"/>
                  <a:pt x="3595" y="12660"/>
                  <a:pt x="3748" y="12468"/>
                </a:cubicBezTo>
                <a:cubicBezTo>
                  <a:pt x="3940" y="12315"/>
                  <a:pt x="4169" y="12239"/>
                  <a:pt x="4246" y="11971"/>
                </a:cubicBezTo>
                <a:cubicBezTo>
                  <a:pt x="4246" y="11933"/>
                  <a:pt x="4322" y="11895"/>
                  <a:pt x="4360" y="11856"/>
                </a:cubicBezTo>
                <a:cubicBezTo>
                  <a:pt x="4513" y="11742"/>
                  <a:pt x="4705" y="11627"/>
                  <a:pt x="4819" y="11474"/>
                </a:cubicBezTo>
                <a:cubicBezTo>
                  <a:pt x="5125" y="11168"/>
                  <a:pt x="5316" y="10671"/>
                  <a:pt x="5737" y="10480"/>
                </a:cubicBezTo>
                <a:cubicBezTo>
                  <a:pt x="5775" y="10441"/>
                  <a:pt x="5775" y="10403"/>
                  <a:pt x="5775" y="10365"/>
                </a:cubicBezTo>
                <a:cubicBezTo>
                  <a:pt x="5661" y="10059"/>
                  <a:pt x="5890" y="10021"/>
                  <a:pt x="6081" y="9944"/>
                </a:cubicBezTo>
                <a:cubicBezTo>
                  <a:pt x="6196" y="9906"/>
                  <a:pt x="6349" y="9829"/>
                  <a:pt x="6426" y="9715"/>
                </a:cubicBezTo>
                <a:cubicBezTo>
                  <a:pt x="6693" y="9217"/>
                  <a:pt x="7114" y="8873"/>
                  <a:pt x="7497" y="8529"/>
                </a:cubicBezTo>
                <a:cubicBezTo>
                  <a:pt x="8032" y="8070"/>
                  <a:pt x="8223" y="7343"/>
                  <a:pt x="8912" y="7037"/>
                </a:cubicBezTo>
                <a:cubicBezTo>
                  <a:pt x="8950" y="7037"/>
                  <a:pt x="8950" y="6999"/>
                  <a:pt x="8988" y="6961"/>
                </a:cubicBezTo>
                <a:cubicBezTo>
                  <a:pt x="9103" y="6387"/>
                  <a:pt x="9868" y="6349"/>
                  <a:pt x="9906" y="5737"/>
                </a:cubicBezTo>
                <a:cubicBezTo>
                  <a:pt x="9934" y="5741"/>
                  <a:pt x="9960" y="5742"/>
                  <a:pt x="9985" y="5742"/>
                </a:cubicBezTo>
                <a:cubicBezTo>
                  <a:pt x="10512" y="5742"/>
                  <a:pt x="10464" y="5009"/>
                  <a:pt x="10939" y="4972"/>
                </a:cubicBezTo>
                <a:cubicBezTo>
                  <a:pt x="11245" y="4398"/>
                  <a:pt x="11780" y="4016"/>
                  <a:pt x="12239" y="3595"/>
                </a:cubicBezTo>
                <a:cubicBezTo>
                  <a:pt x="12583" y="3251"/>
                  <a:pt x="12813" y="2830"/>
                  <a:pt x="13233" y="2563"/>
                </a:cubicBezTo>
                <a:cubicBezTo>
                  <a:pt x="13348" y="2524"/>
                  <a:pt x="13348" y="2371"/>
                  <a:pt x="13425" y="2295"/>
                </a:cubicBezTo>
                <a:cubicBezTo>
                  <a:pt x="13463" y="2218"/>
                  <a:pt x="13539" y="2104"/>
                  <a:pt x="13616" y="2065"/>
                </a:cubicBezTo>
                <a:cubicBezTo>
                  <a:pt x="13998" y="1759"/>
                  <a:pt x="14343" y="1492"/>
                  <a:pt x="14725" y="1224"/>
                </a:cubicBezTo>
                <a:cubicBezTo>
                  <a:pt x="14993" y="995"/>
                  <a:pt x="15222" y="765"/>
                  <a:pt x="15299" y="383"/>
                </a:cubicBezTo>
                <a:cubicBezTo>
                  <a:pt x="15107" y="268"/>
                  <a:pt x="14916" y="115"/>
                  <a:pt x="14687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8" name="Google Shape;68;p15"/>
          <p:cNvSpPr/>
          <p:nvPr/>
        </p:nvSpPr>
        <p:spPr>
          <a:xfrm>
            <a:off x="1222047" y="3615314"/>
            <a:ext cx="368331" cy="372516"/>
          </a:xfrm>
          <a:custGeom>
            <a:avLst/>
            <a:gdLst/>
            <a:ahLst/>
            <a:cxnLst/>
            <a:rect l="l" t="t" r="r" b="b"/>
            <a:pathLst>
              <a:path w="13464" h="13617" extrusionOk="0">
                <a:moveTo>
                  <a:pt x="12928" y="1"/>
                </a:moveTo>
                <a:cubicBezTo>
                  <a:pt x="12813" y="39"/>
                  <a:pt x="12698" y="115"/>
                  <a:pt x="12698" y="268"/>
                </a:cubicBezTo>
                <a:cubicBezTo>
                  <a:pt x="12431" y="345"/>
                  <a:pt x="12316" y="613"/>
                  <a:pt x="12087" y="766"/>
                </a:cubicBezTo>
                <a:cubicBezTo>
                  <a:pt x="11742" y="1033"/>
                  <a:pt x="11628" y="1607"/>
                  <a:pt x="11054" y="1645"/>
                </a:cubicBezTo>
                <a:cubicBezTo>
                  <a:pt x="10977" y="1645"/>
                  <a:pt x="10863" y="1875"/>
                  <a:pt x="10786" y="1989"/>
                </a:cubicBezTo>
                <a:cubicBezTo>
                  <a:pt x="10786" y="2028"/>
                  <a:pt x="10748" y="2104"/>
                  <a:pt x="10710" y="2142"/>
                </a:cubicBezTo>
                <a:cubicBezTo>
                  <a:pt x="10480" y="2142"/>
                  <a:pt x="10404" y="2257"/>
                  <a:pt x="10289" y="2448"/>
                </a:cubicBezTo>
                <a:cubicBezTo>
                  <a:pt x="10212" y="2601"/>
                  <a:pt x="10098" y="2716"/>
                  <a:pt x="10021" y="2869"/>
                </a:cubicBezTo>
                <a:cubicBezTo>
                  <a:pt x="10021" y="2984"/>
                  <a:pt x="9868" y="3099"/>
                  <a:pt x="9753" y="3137"/>
                </a:cubicBezTo>
                <a:cubicBezTo>
                  <a:pt x="9256" y="3328"/>
                  <a:pt x="8950" y="3558"/>
                  <a:pt x="8759" y="3902"/>
                </a:cubicBezTo>
                <a:cubicBezTo>
                  <a:pt x="8683" y="4055"/>
                  <a:pt x="8644" y="4246"/>
                  <a:pt x="8530" y="4361"/>
                </a:cubicBezTo>
                <a:cubicBezTo>
                  <a:pt x="8457" y="4458"/>
                  <a:pt x="8384" y="4554"/>
                  <a:pt x="8293" y="4554"/>
                </a:cubicBezTo>
                <a:cubicBezTo>
                  <a:pt x="8239" y="4554"/>
                  <a:pt x="8179" y="4522"/>
                  <a:pt x="8109" y="4437"/>
                </a:cubicBezTo>
                <a:cubicBezTo>
                  <a:pt x="8071" y="4820"/>
                  <a:pt x="7612" y="4781"/>
                  <a:pt x="7535" y="5126"/>
                </a:cubicBezTo>
                <a:cubicBezTo>
                  <a:pt x="7497" y="5470"/>
                  <a:pt x="7191" y="5623"/>
                  <a:pt x="6923" y="5814"/>
                </a:cubicBezTo>
                <a:cubicBezTo>
                  <a:pt x="6770" y="5929"/>
                  <a:pt x="6579" y="6082"/>
                  <a:pt x="6464" y="6235"/>
                </a:cubicBezTo>
                <a:cubicBezTo>
                  <a:pt x="6350" y="6426"/>
                  <a:pt x="6005" y="6426"/>
                  <a:pt x="6082" y="6770"/>
                </a:cubicBezTo>
                <a:cubicBezTo>
                  <a:pt x="6082" y="6961"/>
                  <a:pt x="5699" y="6847"/>
                  <a:pt x="5699" y="7153"/>
                </a:cubicBezTo>
                <a:cubicBezTo>
                  <a:pt x="5699" y="7229"/>
                  <a:pt x="5508" y="7344"/>
                  <a:pt x="5393" y="7420"/>
                </a:cubicBezTo>
                <a:cubicBezTo>
                  <a:pt x="5011" y="7650"/>
                  <a:pt x="4667" y="7918"/>
                  <a:pt x="4437" y="8338"/>
                </a:cubicBezTo>
                <a:cubicBezTo>
                  <a:pt x="4284" y="8606"/>
                  <a:pt x="4055" y="8759"/>
                  <a:pt x="3825" y="8950"/>
                </a:cubicBezTo>
                <a:cubicBezTo>
                  <a:pt x="3596" y="9142"/>
                  <a:pt x="3290" y="9333"/>
                  <a:pt x="3213" y="9639"/>
                </a:cubicBezTo>
                <a:cubicBezTo>
                  <a:pt x="3137" y="9983"/>
                  <a:pt x="2946" y="10174"/>
                  <a:pt x="2640" y="10327"/>
                </a:cubicBezTo>
                <a:cubicBezTo>
                  <a:pt x="2449" y="10404"/>
                  <a:pt x="2296" y="10557"/>
                  <a:pt x="2181" y="10710"/>
                </a:cubicBezTo>
                <a:cubicBezTo>
                  <a:pt x="2066" y="10863"/>
                  <a:pt x="2028" y="11092"/>
                  <a:pt x="1913" y="11245"/>
                </a:cubicBezTo>
                <a:cubicBezTo>
                  <a:pt x="1798" y="11398"/>
                  <a:pt x="1607" y="11475"/>
                  <a:pt x="1454" y="11551"/>
                </a:cubicBezTo>
                <a:cubicBezTo>
                  <a:pt x="995" y="11819"/>
                  <a:pt x="842" y="12354"/>
                  <a:pt x="421" y="12622"/>
                </a:cubicBezTo>
                <a:cubicBezTo>
                  <a:pt x="498" y="12660"/>
                  <a:pt x="536" y="12698"/>
                  <a:pt x="574" y="12737"/>
                </a:cubicBezTo>
                <a:cubicBezTo>
                  <a:pt x="383" y="12928"/>
                  <a:pt x="230" y="13119"/>
                  <a:pt x="1" y="13349"/>
                </a:cubicBezTo>
                <a:cubicBezTo>
                  <a:pt x="268" y="13463"/>
                  <a:pt x="460" y="13540"/>
                  <a:pt x="727" y="13616"/>
                </a:cubicBezTo>
                <a:cubicBezTo>
                  <a:pt x="880" y="13502"/>
                  <a:pt x="1033" y="13425"/>
                  <a:pt x="1148" y="13310"/>
                </a:cubicBezTo>
                <a:cubicBezTo>
                  <a:pt x="1416" y="12966"/>
                  <a:pt x="1684" y="12660"/>
                  <a:pt x="1990" y="12316"/>
                </a:cubicBezTo>
                <a:cubicBezTo>
                  <a:pt x="2219" y="12010"/>
                  <a:pt x="2640" y="11857"/>
                  <a:pt x="2754" y="11436"/>
                </a:cubicBezTo>
                <a:cubicBezTo>
                  <a:pt x="3366" y="11322"/>
                  <a:pt x="3213" y="10442"/>
                  <a:pt x="3864" y="10365"/>
                </a:cubicBezTo>
                <a:cubicBezTo>
                  <a:pt x="3978" y="10365"/>
                  <a:pt x="4093" y="10059"/>
                  <a:pt x="4208" y="9906"/>
                </a:cubicBezTo>
                <a:cubicBezTo>
                  <a:pt x="4361" y="9792"/>
                  <a:pt x="4476" y="9600"/>
                  <a:pt x="4629" y="9486"/>
                </a:cubicBezTo>
                <a:cubicBezTo>
                  <a:pt x="4820" y="9409"/>
                  <a:pt x="5049" y="9333"/>
                  <a:pt x="5164" y="9142"/>
                </a:cubicBezTo>
                <a:cubicBezTo>
                  <a:pt x="4896" y="8874"/>
                  <a:pt x="5240" y="8836"/>
                  <a:pt x="5317" y="8721"/>
                </a:cubicBezTo>
                <a:cubicBezTo>
                  <a:pt x="5432" y="8606"/>
                  <a:pt x="5585" y="8415"/>
                  <a:pt x="5738" y="8415"/>
                </a:cubicBezTo>
                <a:cubicBezTo>
                  <a:pt x="6044" y="8415"/>
                  <a:pt x="5776" y="8147"/>
                  <a:pt x="5967" y="8032"/>
                </a:cubicBezTo>
                <a:cubicBezTo>
                  <a:pt x="6350" y="7803"/>
                  <a:pt x="6579" y="7382"/>
                  <a:pt x="6962" y="7153"/>
                </a:cubicBezTo>
                <a:cubicBezTo>
                  <a:pt x="7344" y="6885"/>
                  <a:pt x="7650" y="6617"/>
                  <a:pt x="7765" y="6158"/>
                </a:cubicBezTo>
                <a:cubicBezTo>
                  <a:pt x="7798" y="6125"/>
                  <a:pt x="7887" y="6036"/>
                  <a:pt x="7936" y="6036"/>
                </a:cubicBezTo>
                <a:cubicBezTo>
                  <a:pt x="7944" y="6036"/>
                  <a:pt x="7951" y="6038"/>
                  <a:pt x="7956" y="6044"/>
                </a:cubicBezTo>
                <a:cubicBezTo>
                  <a:pt x="7987" y="6056"/>
                  <a:pt x="8014" y="6061"/>
                  <a:pt x="8037" y="6061"/>
                </a:cubicBezTo>
                <a:cubicBezTo>
                  <a:pt x="8161" y="6061"/>
                  <a:pt x="8198" y="5916"/>
                  <a:pt x="8262" y="5852"/>
                </a:cubicBezTo>
                <a:cubicBezTo>
                  <a:pt x="8606" y="5546"/>
                  <a:pt x="8874" y="5087"/>
                  <a:pt x="9333" y="4896"/>
                </a:cubicBezTo>
                <a:cubicBezTo>
                  <a:pt x="9371" y="4896"/>
                  <a:pt x="9448" y="4858"/>
                  <a:pt x="9409" y="4820"/>
                </a:cubicBezTo>
                <a:cubicBezTo>
                  <a:pt x="9295" y="4361"/>
                  <a:pt x="9753" y="4322"/>
                  <a:pt x="9945" y="4093"/>
                </a:cubicBezTo>
                <a:cubicBezTo>
                  <a:pt x="10327" y="3711"/>
                  <a:pt x="10748" y="3405"/>
                  <a:pt x="11092" y="3022"/>
                </a:cubicBezTo>
                <a:cubicBezTo>
                  <a:pt x="11322" y="2754"/>
                  <a:pt x="11628" y="2601"/>
                  <a:pt x="11857" y="2334"/>
                </a:cubicBezTo>
                <a:cubicBezTo>
                  <a:pt x="12163" y="1875"/>
                  <a:pt x="12584" y="1492"/>
                  <a:pt x="12966" y="1033"/>
                </a:cubicBezTo>
                <a:cubicBezTo>
                  <a:pt x="13119" y="804"/>
                  <a:pt x="13272" y="574"/>
                  <a:pt x="13463" y="345"/>
                </a:cubicBezTo>
                <a:cubicBezTo>
                  <a:pt x="13272" y="230"/>
                  <a:pt x="13081" y="115"/>
                  <a:pt x="12928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9" name="Google Shape;69;p15"/>
          <p:cNvSpPr/>
          <p:nvPr/>
        </p:nvSpPr>
        <p:spPr>
          <a:xfrm>
            <a:off x="1489895" y="3914568"/>
            <a:ext cx="402855" cy="413304"/>
          </a:xfrm>
          <a:custGeom>
            <a:avLst/>
            <a:gdLst/>
            <a:ahLst/>
            <a:cxnLst/>
            <a:rect l="l" t="t" r="r" b="b"/>
            <a:pathLst>
              <a:path w="14726" h="15108" extrusionOk="0">
                <a:moveTo>
                  <a:pt x="14228" y="0"/>
                </a:moveTo>
                <a:cubicBezTo>
                  <a:pt x="14037" y="230"/>
                  <a:pt x="13808" y="421"/>
                  <a:pt x="13578" y="612"/>
                </a:cubicBezTo>
                <a:cubicBezTo>
                  <a:pt x="13272" y="880"/>
                  <a:pt x="12851" y="1033"/>
                  <a:pt x="12737" y="1492"/>
                </a:cubicBezTo>
                <a:cubicBezTo>
                  <a:pt x="12737" y="1530"/>
                  <a:pt x="12622" y="1568"/>
                  <a:pt x="12545" y="1606"/>
                </a:cubicBezTo>
                <a:cubicBezTo>
                  <a:pt x="12316" y="1645"/>
                  <a:pt x="12201" y="1836"/>
                  <a:pt x="12086" y="1989"/>
                </a:cubicBezTo>
                <a:cubicBezTo>
                  <a:pt x="11704" y="2448"/>
                  <a:pt x="11283" y="2830"/>
                  <a:pt x="10901" y="3213"/>
                </a:cubicBezTo>
                <a:cubicBezTo>
                  <a:pt x="10786" y="3366"/>
                  <a:pt x="10595" y="3404"/>
                  <a:pt x="10480" y="3519"/>
                </a:cubicBezTo>
                <a:cubicBezTo>
                  <a:pt x="10327" y="3672"/>
                  <a:pt x="10212" y="3825"/>
                  <a:pt x="10098" y="3978"/>
                </a:cubicBezTo>
                <a:cubicBezTo>
                  <a:pt x="9945" y="4131"/>
                  <a:pt x="9792" y="4322"/>
                  <a:pt x="9639" y="4475"/>
                </a:cubicBezTo>
                <a:cubicBezTo>
                  <a:pt x="9486" y="4628"/>
                  <a:pt x="9295" y="4781"/>
                  <a:pt x="9218" y="4972"/>
                </a:cubicBezTo>
                <a:cubicBezTo>
                  <a:pt x="9142" y="5278"/>
                  <a:pt x="8797" y="5125"/>
                  <a:pt x="8683" y="5316"/>
                </a:cubicBezTo>
                <a:cubicBezTo>
                  <a:pt x="8453" y="5660"/>
                  <a:pt x="8185" y="5928"/>
                  <a:pt x="7879" y="6196"/>
                </a:cubicBezTo>
                <a:cubicBezTo>
                  <a:pt x="7229" y="6846"/>
                  <a:pt x="6579" y="7535"/>
                  <a:pt x="5929" y="8223"/>
                </a:cubicBezTo>
                <a:cubicBezTo>
                  <a:pt x="5623" y="8529"/>
                  <a:pt x="5279" y="8873"/>
                  <a:pt x="4973" y="9179"/>
                </a:cubicBezTo>
                <a:cubicBezTo>
                  <a:pt x="4667" y="9523"/>
                  <a:pt x="4399" y="9829"/>
                  <a:pt x="4131" y="10174"/>
                </a:cubicBezTo>
                <a:cubicBezTo>
                  <a:pt x="3481" y="10824"/>
                  <a:pt x="2793" y="11474"/>
                  <a:pt x="2257" y="12239"/>
                </a:cubicBezTo>
                <a:cubicBezTo>
                  <a:pt x="2143" y="12430"/>
                  <a:pt x="2028" y="12621"/>
                  <a:pt x="1837" y="12736"/>
                </a:cubicBezTo>
                <a:cubicBezTo>
                  <a:pt x="1339" y="13004"/>
                  <a:pt x="1148" y="13539"/>
                  <a:pt x="727" y="13922"/>
                </a:cubicBezTo>
                <a:cubicBezTo>
                  <a:pt x="421" y="14228"/>
                  <a:pt x="230" y="14648"/>
                  <a:pt x="1" y="14993"/>
                </a:cubicBezTo>
                <a:cubicBezTo>
                  <a:pt x="154" y="15031"/>
                  <a:pt x="307" y="15069"/>
                  <a:pt x="498" y="15107"/>
                </a:cubicBezTo>
                <a:cubicBezTo>
                  <a:pt x="613" y="14954"/>
                  <a:pt x="689" y="14763"/>
                  <a:pt x="804" y="14648"/>
                </a:cubicBezTo>
                <a:cubicBezTo>
                  <a:pt x="1225" y="14228"/>
                  <a:pt x="1645" y="13807"/>
                  <a:pt x="2104" y="13463"/>
                </a:cubicBezTo>
                <a:cubicBezTo>
                  <a:pt x="2563" y="13042"/>
                  <a:pt x="2907" y="12507"/>
                  <a:pt x="3481" y="12201"/>
                </a:cubicBezTo>
                <a:cubicBezTo>
                  <a:pt x="3634" y="12162"/>
                  <a:pt x="3787" y="12009"/>
                  <a:pt x="3787" y="11856"/>
                </a:cubicBezTo>
                <a:cubicBezTo>
                  <a:pt x="3902" y="11436"/>
                  <a:pt x="4246" y="11244"/>
                  <a:pt x="4552" y="11015"/>
                </a:cubicBezTo>
                <a:cubicBezTo>
                  <a:pt x="4705" y="10862"/>
                  <a:pt x="4896" y="10747"/>
                  <a:pt x="5011" y="10518"/>
                </a:cubicBezTo>
                <a:cubicBezTo>
                  <a:pt x="5126" y="10365"/>
                  <a:pt x="5317" y="10288"/>
                  <a:pt x="5470" y="10097"/>
                </a:cubicBezTo>
                <a:cubicBezTo>
                  <a:pt x="5776" y="9600"/>
                  <a:pt x="6235" y="9179"/>
                  <a:pt x="6617" y="8758"/>
                </a:cubicBezTo>
                <a:cubicBezTo>
                  <a:pt x="6923" y="8452"/>
                  <a:pt x="7229" y="8032"/>
                  <a:pt x="7688" y="7879"/>
                </a:cubicBezTo>
                <a:cubicBezTo>
                  <a:pt x="7956" y="7764"/>
                  <a:pt x="7573" y="7420"/>
                  <a:pt x="7918" y="7343"/>
                </a:cubicBezTo>
                <a:cubicBezTo>
                  <a:pt x="8224" y="7267"/>
                  <a:pt x="8262" y="6846"/>
                  <a:pt x="8606" y="6808"/>
                </a:cubicBezTo>
                <a:cubicBezTo>
                  <a:pt x="8644" y="6464"/>
                  <a:pt x="9027" y="6425"/>
                  <a:pt x="9142" y="6234"/>
                </a:cubicBezTo>
                <a:cubicBezTo>
                  <a:pt x="9333" y="5852"/>
                  <a:pt x="9600" y="5584"/>
                  <a:pt x="9906" y="5393"/>
                </a:cubicBezTo>
                <a:cubicBezTo>
                  <a:pt x="10251" y="5163"/>
                  <a:pt x="10442" y="4819"/>
                  <a:pt x="10710" y="4590"/>
                </a:cubicBezTo>
                <a:cubicBezTo>
                  <a:pt x="10786" y="4513"/>
                  <a:pt x="10901" y="4437"/>
                  <a:pt x="11016" y="4360"/>
                </a:cubicBezTo>
                <a:cubicBezTo>
                  <a:pt x="11092" y="4284"/>
                  <a:pt x="11207" y="4245"/>
                  <a:pt x="11207" y="4169"/>
                </a:cubicBezTo>
                <a:cubicBezTo>
                  <a:pt x="11245" y="3901"/>
                  <a:pt x="11475" y="3748"/>
                  <a:pt x="11704" y="3595"/>
                </a:cubicBezTo>
                <a:cubicBezTo>
                  <a:pt x="11895" y="3480"/>
                  <a:pt x="11895" y="3174"/>
                  <a:pt x="12125" y="3060"/>
                </a:cubicBezTo>
                <a:cubicBezTo>
                  <a:pt x="12354" y="2945"/>
                  <a:pt x="12545" y="2754"/>
                  <a:pt x="12775" y="2601"/>
                </a:cubicBezTo>
                <a:cubicBezTo>
                  <a:pt x="12928" y="2486"/>
                  <a:pt x="12890" y="2257"/>
                  <a:pt x="13081" y="2104"/>
                </a:cubicBezTo>
                <a:cubicBezTo>
                  <a:pt x="13616" y="1683"/>
                  <a:pt x="14114" y="1186"/>
                  <a:pt x="14572" y="688"/>
                </a:cubicBezTo>
                <a:cubicBezTo>
                  <a:pt x="14649" y="612"/>
                  <a:pt x="14687" y="536"/>
                  <a:pt x="14725" y="459"/>
                </a:cubicBezTo>
                <a:cubicBezTo>
                  <a:pt x="14572" y="344"/>
                  <a:pt x="14419" y="191"/>
                  <a:pt x="14228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0" name="Google Shape;70;p15"/>
          <p:cNvSpPr/>
          <p:nvPr/>
        </p:nvSpPr>
        <p:spPr>
          <a:xfrm>
            <a:off x="699973" y="3380950"/>
            <a:ext cx="257399" cy="331700"/>
          </a:xfrm>
          <a:custGeom>
            <a:avLst/>
            <a:gdLst/>
            <a:ahLst/>
            <a:cxnLst/>
            <a:rect l="l" t="t" r="r" b="b"/>
            <a:pathLst>
              <a:path w="9409" h="12125" extrusionOk="0">
                <a:moveTo>
                  <a:pt x="8605" y="1"/>
                </a:moveTo>
                <a:cubicBezTo>
                  <a:pt x="8223" y="383"/>
                  <a:pt x="7840" y="804"/>
                  <a:pt x="7496" y="1186"/>
                </a:cubicBezTo>
                <a:cubicBezTo>
                  <a:pt x="7420" y="1263"/>
                  <a:pt x="7305" y="1339"/>
                  <a:pt x="7305" y="1416"/>
                </a:cubicBezTo>
                <a:cubicBezTo>
                  <a:pt x="7229" y="1760"/>
                  <a:pt x="6961" y="1875"/>
                  <a:pt x="6770" y="2066"/>
                </a:cubicBezTo>
                <a:cubicBezTo>
                  <a:pt x="6655" y="2142"/>
                  <a:pt x="6540" y="2219"/>
                  <a:pt x="6502" y="2334"/>
                </a:cubicBezTo>
                <a:cubicBezTo>
                  <a:pt x="5966" y="3022"/>
                  <a:pt x="5469" y="3749"/>
                  <a:pt x="4972" y="4475"/>
                </a:cubicBezTo>
                <a:cubicBezTo>
                  <a:pt x="4743" y="4743"/>
                  <a:pt x="4551" y="5049"/>
                  <a:pt x="4475" y="5432"/>
                </a:cubicBezTo>
                <a:cubicBezTo>
                  <a:pt x="4322" y="5929"/>
                  <a:pt x="4131" y="6196"/>
                  <a:pt x="3633" y="6541"/>
                </a:cubicBezTo>
                <a:cubicBezTo>
                  <a:pt x="3595" y="6579"/>
                  <a:pt x="3519" y="6655"/>
                  <a:pt x="3519" y="6694"/>
                </a:cubicBezTo>
                <a:cubicBezTo>
                  <a:pt x="3404" y="7114"/>
                  <a:pt x="3136" y="7344"/>
                  <a:pt x="2868" y="7650"/>
                </a:cubicBezTo>
                <a:cubicBezTo>
                  <a:pt x="2677" y="7841"/>
                  <a:pt x="2448" y="8109"/>
                  <a:pt x="2295" y="8376"/>
                </a:cubicBezTo>
                <a:cubicBezTo>
                  <a:pt x="2065" y="8759"/>
                  <a:pt x="1798" y="9180"/>
                  <a:pt x="1492" y="9524"/>
                </a:cubicBezTo>
                <a:cubicBezTo>
                  <a:pt x="1224" y="9868"/>
                  <a:pt x="727" y="10059"/>
                  <a:pt x="727" y="10633"/>
                </a:cubicBezTo>
                <a:cubicBezTo>
                  <a:pt x="727" y="10748"/>
                  <a:pt x="268" y="10901"/>
                  <a:pt x="382" y="11168"/>
                </a:cubicBezTo>
                <a:cubicBezTo>
                  <a:pt x="497" y="11474"/>
                  <a:pt x="0" y="11551"/>
                  <a:pt x="115" y="11857"/>
                </a:cubicBezTo>
                <a:cubicBezTo>
                  <a:pt x="382" y="11933"/>
                  <a:pt x="612" y="12010"/>
                  <a:pt x="918" y="12125"/>
                </a:cubicBezTo>
                <a:cubicBezTo>
                  <a:pt x="1262" y="11704"/>
                  <a:pt x="1645" y="11245"/>
                  <a:pt x="1989" y="10786"/>
                </a:cubicBezTo>
                <a:cubicBezTo>
                  <a:pt x="2677" y="9868"/>
                  <a:pt x="3327" y="8912"/>
                  <a:pt x="4016" y="8032"/>
                </a:cubicBezTo>
                <a:cubicBezTo>
                  <a:pt x="4245" y="7765"/>
                  <a:pt x="4398" y="7459"/>
                  <a:pt x="4628" y="7191"/>
                </a:cubicBezTo>
                <a:cubicBezTo>
                  <a:pt x="4972" y="6732"/>
                  <a:pt x="5393" y="6273"/>
                  <a:pt x="5737" y="5814"/>
                </a:cubicBezTo>
                <a:cubicBezTo>
                  <a:pt x="6119" y="5317"/>
                  <a:pt x="6502" y="4781"/>
                  <a:pt x="6846" y="4284"/>
                </a:cubicBezTo>
                <a:cubicBezTo>
                  <a:pt x="6884" y="4016"/>
                  <a:pt x="6540" y="3787"/>
                  <a:pt x="6808" y="3557"/>
                </a:cubicBezTo>
                <a:cubicBezTo>
                  <a:pt x="6923" y="3443"/>
                  <a:pt x="7076" y="3404"/>
                  <a:pt x="7037" y="3175"/>
                </a:cubicBezTo>
                <a:cubicBezTo>
                  <a:pt x="7037" y="3060"/>
                  <a:pt x="7267" y="2946"/>
                  <a:pt x="7382" y="2831"/>
                </a:cubicBezTo>
                <a:cubicBezTo>
                  <a:pt x="7447" y="2798"/>
                  <a:pt x="7513" y="2708"/>
                  <a:pt x="7555" y="2708"/>
                </a:cubicBezTo>
                <a:cubicBezTo>
                  <a:pt x="7561" y="2708"/>
                  <a:pt x="7567" y="2711"/>
                  <a:pt x="7573" y="2716"/>
                </a:cubicBezTo>
                <a:cubicBezTo>
                  <a:pt x="7593" y="2719"/>
                  <a:pt x="7612" y="2721"/>
                  <a:pt x="7630" y="2721"/>
                </a:cubicBezTo>
                <a:cubicBezTo>
                  <a:pt x="7816" y="2721"/>
                  <a:pt x="7885" y="2550"/>
                  <a:pt x="7955" y="2410"/>
                </a:cubicBezTo>
                <a:cubicBezTo>
                  <a:pt x="7993" y="2257"/>
                  <a:pt x="8108" y="2104"/>
                  <a:pt x="8185" y="1989"/>
                </a:cubicBezTo>
                <a:cubicBezTo>
                  <a:pt x="8605" y="1492"/>
                  <a:pt x="9064" y="995"/>
                  <a:pt x="9409" y="574"/>
                </a:cubicBezTo>
                <a:cubicBezTo>
                  <a:pt x="9409" y="286"/>
                  <a:pt x="9321" y="149"/>
                  <a:pt x="9130" y="149"/>
                </a:cubicBezTo>
                <a:cubicBezTo>
                  <a:pt x="9069" y="149"/>
                  <a:pt x="8996" y="164"/>
                  <a:pt x="8911" y="192"/>
                </a:cubicBezTo>
                <a:cubicBezTo>
                  <a:pt x="8904" y="195"/>
                  <a:pt x="8897" y="197"/>
                  <a:pt x="8890" y="197"/>
                </a:cubicBezTo>
                <a:cubicBezTo>
                  <a:pt x="8814" y="197"/>
                  <a:pt x="8710" y="35"/>
                  <a:pt x="8605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1" name="Google Shape;71;p15"/>
          <p:cNvSpPr/>
          <p:nvPr/>
        </p:nvSpPr>
        <p:spPr>
          <a:xfrm>
            <a:off x="1625913" y="3989882"/>
            <a:ext cx="333807" cy="333807"/>
          </a:xfrm>
          <a:custGeom>
            <a:avLst/>
            <a:gdLst/>
            <a:ahLst/>
            <a:cxnLst/>
            <a:rect l="l" t="t" r="r" b="b"/>
            <a:pathLst>
              <a:path w="12202" h="12202" extrusionOk="0">
                <a:moveTo>
                  <a:pt x="11704" y="1"/>
                </a:moveTo>
                <a:cubicBezTo>
                  <a:pt x="11475" y="116"/>
                  <a:pt x="11207" y="230"/>
                  <a:pt x="10977" y="383"/>
                </a:cubicBezTo>
                <a:cubicBezTo>
                  <a:pt x="10863" y="460"/>
                  <a:pt x="10863" y="727"/>
                  <a:pt x="10786" y="727"/>
                </a:cubicBezTo>
                <a:cubicBezTo>
                  <a:pt x="10518" y="766"/>
                  <a:pt x="10442" y="957"/>
                  <a:pt x="10365" y="1186"/>
                </a:cubicBezTo>
                <a:cubicBezTo>
                  <a:pt x="10365" y="1301"/>
                  <a:pt x="10212" y="1416"/>
                  <a:pt x="10098" y="1416"/>
                </a:cubicBezTo>
                <a:cubicBezTo>
                  <a:pt x="9715" y="1454"/>
                  <a:pt x="9562" y="1645"/>
                  <a:pt x="9486" y="2028"/>
                </a:cubicBezTo>
                <a:cubicBezTo>
                  <a:pt x="9447" y="2104"/>
                  <a:pt x="9333" y="2257"/>
                  <a:pt x="9256" y="2296"/>
                </a:cubicBezTo>
                <a:cubicBezTo>
                  <a:pt x="8989" y="2334"/>
                  <a:pt x="8797" y="2372"/>
                  <a:pt x="8683" y="2678"/>
                </a:cubicBezTo>
                <a:cubicBezTo>
                  <a:pt x="8568" y="2869"/>
                  <a:pt x="8338" y="2984"/>
                  <a:pt x="8185" y="3137"/>
                </a:cubicBezTo>
                <a:cubicBezTo>
                  <a:pt x="7956" y="3366"/>
                  <a:pt x="7803" y="3749"/>
                  <a:pt x="7535" y="3864"/>
                </a:cubicBezTo>
                <a:cubicBezTo>
                  <a:pt x="7191" y="3978"/>
                  <a:pt x="7076" y="4323"/>
                  <a:pt x="6770" y="4476"/>
                </a:cubicBezTo>
                <a:cubicBezTo>
                  <a:pt x="6464" y="4629"/>
                  <a:pt x="6197" y="4820"/>
                  <a:pt x="6158" y="5202"/>
                </a:cubicBezTo>
                <a:cubicBezTo>
                  <a:pt x="6158" y="5279"/>
                  <a:pt x="6044" y="5355"/>
                  <a:pt x="5967" y="5393"/>
                </a:cubicBezTo>
                <a:cubicBezTo>
                  <a:pt x="5355" y="5699"/>
                  <a:pt x="4973" y="6235"/>
                  <a:pt x="4514" y="6656"/>
                </a:cubicBezTo>
                <a:cubicBezTo>
                  <a:pt x="4292" y="6877"/>
                  <a:pt x="4320" y="7384"/>
                  <a:pt x="3875" y="7384"/>
                </a:cubicBezTo>
                <a:cubicBezTo>
                  <a:pt x="3859" y="7384"/>
                  <a:pt x="3842" y="7384"/>
                  <a:pt x="3825" y="7382"/>
                </a:cubicBezTo>
                <a:lnTo>
                  <a:pt x="3825" y="7382"/>
                </a:lnTo>
                <a:cubicBezTo>
                  <a:pt x="3978" y="7688"/>
                  <a:pt x="3366" y="7535"/>
                  <a:pt x="3519" y="7879"/>
                </a:cubicBezTo>
                <a:cubicBezTo>
                  <a:pt x="3558" y="8032"/>
                  <a:pt x="3366" y="8224"/>
                  <a:pt x="3099" y="8262"/>
                </a:cubicBezTo>
                <a:cubicBezTo>
                  <a:pt x="3022" y="8262"/>
                  <a:pt x="2869" y="8300"/>
                  <a:pt x="2869" y="8338"/>
                </a:cubicBezTo>
                <a:cubicBezTo>
                  <a:pt x="2869" y="8759"/>
                  <a:pt x="2410" y="8721"/>
                  <a:pt x="2257" y="8989"/>
                </a:cubicBezTo>
                <a:cubicBezTo>
                  <a:pt x="2181" y="9103"/>
                  <a:pt x="1990" y="9218"/>
                  <a:pt x="1951" y="9333"/>
                </a:cubicBezTo>
                <a:cubicBezTo>
                  <a:pt x="1913" y="9792"/>
                  <a:pt x="1569" y="9945"/>
                  <a:pt x="1263" y="10174"/>
                </a:cubicBezTo>
                <a:cubicBezTo>
                  <a:pt x="1110" y="10289"/>
                  <a:pt x="957" y="10327"/>
                  <a:pt x="995" y="10595"/>
                </a:cubicBezTo>
                <a:cubicBezTo>
                  <a:pt x="1033" y="10633"/>
                  <a:pt x="919" y="10748"/>
                  <a:pt x="842" y="10786"/>
                </a:cubicBezTo>
                <a:cubicBezTo>
                  <a:pt x="421" y="11016"/>
                  <a:pt x="192" y="11398"/>
                  <a:pt x="1" y="11781"/>
                </a:cubicBezTo>
                <a:cubicBezTo>
                  <a:pt x="39" y="11819"/>
                  <a:pt x="39" y="11857"/>
                  <a:pt x="77" y="11857"/>
                </a:cubicBezTo>
                <a:cubicBezTo>
                  <a:pt x="230" y="11972"/>
                  <a:pt x="345" y="12048"/>
                  <a:pt x="498" y="12201"/>
                </a:cubicBezTo>
                <a:cubicBezTo>
                  <a:pt x="536" y="11513"/>
                  <a:pt x="1225" y="11322"/>
                  <a:pt x="1454" y="10786"/>
                </a:cubicBezTo>
                <a:cubicBezTo>
                  <a:pt x="1492" y="10779"/>
                  <a:pt x="1535" y="10777"/>
                  <a:pt x="1580" y="10777"/>
                </a:cubicBezTo>
                <a:cubicBezTo>
                  <a:pt x="1611" y="10777"/>
                  <a:pt x="1642" y="10778"/>
                  <a:pt x="1674" y="10778"/>
                </a:cubicBezTo>
                <a:cubicBezTo>
                  <a:pt x="1832" y="10778"/>
                  <a:pt x="2002" y="10761"/>
                  <a:pt x="2104" y="10557"/>
                </a:cubicBezTo>
                <a:cubicBezTo>
                  <a:pt x="2142" y="10442"/>
                  <a:pt x="2410" y="10442"/>
                  <a:pt x="2295" y="10212"/>
                </a:cubicBezTo>
                <a:cubicBezTo>
                  <a:pt x="2448" y="10174"/>
                  <a:pt x="2563" y="10136"/>
                  <a:pt x="2716" y="10098"/>
                </a:cubicBezTo>
                <a:cubicBezTo>
                  <a:pt x="2754" y="10059"/>
                  <a:pt x="2793" y="9983"/>
                  <a:pt x="2869" y="9907"/>
                </a:cubicBezTo>
                <a:lnTo>
                  <a:pt x="2869" y="9907"/>
                </a:lnTo>
                <a:cubicBezTo>
                  <a:pt x="2640" y="9945"/>
                  <a:pt x="2487" y="9945"/>
                  <a:pt x="2219" y="9983"/>
                </a:cubicBezTo>
                <a:cubicBezTo>
                  <a:pt x="2984" y="9562"/>
                  <a:pt x="2984" y="9562"/>
                  <a:pt x="3328" y="8874"/>
                </a:cubicBezTo>
                <a:cubicBezTo>
                  <a:pt x="3405" y="8721"/>
                  <a:pt x="3481" y="8683"/>
                  <a:pt x="3672" y="8683"/>
                </a:cubicBezTo>
                <a:cubicBezTo>
                  <a:pt x="3676" y="8684"/>
                  <a:pt x="3679" y="8685"/>
                  <a:pt x="3683" y="8685"/>
                </a:cubicBezTo>
                <a:cubicBezTo>
                  <a:pt x="3759" y="8685"/>
                  <a:pt x="3867" y="8300"/>
                  <a:pt x="3940" y="8300"/>
                </a:cubicBezTo>
                <a:cubicBezTo>
                  <a:pt x="4323" y="8300"/>
                  <a:pt x="4323" y="8032"/>
                  <a:pt x="4437" y="7803"/>
                </a:cubicBezTo>
                <a:cubicBezTo>
                  <a:pt x="4475" y="7765"/>
                  <a:pt x="4514" y="7765"/>
                  <a:pt x="4552" y="7726"/>
                </a:cubicBezTo>
                <a:cubicBezTo>
                  <a:pt x="4628" y="7803"/>
                  <a:pt x="4705" y="7841"/>
                  <a:pt x="4705" y="7879"/>
                </a:cubicBezTo>
                <a:cubicBezTo>
                  <a:pt x="4896" y="7765"/>
                  <a:pt x="5087" y="7688"/>
                  <a:pt x="5202" y="7535"/>
                </a:cubicBezTo>
                <a:cubicBezTo>
                  <a:pt x="5355" y="7382"/>
                  <a:pt x="5393" y="7153"/>
                  <a:pt x="5508" y="7000"/>
                </a:cubicBezTo>
                <a:cubicBezTo>
                  <a:pt x="5585" y="6885"/>
                  <a:pt x="5738" y="6885"/>
                  <a:pt x="5852" y="6809"/>
                </a:cubicBezTo>
                <a:cubicBezTo>
                  <a:pt x="5776" y="6350"/>
                  <a:pt x="5776" y="6350"/>
                  <a:pt x="6120" y="6197"/>
                </a:cubicBezTo>
                <a:cubicBezTo>
                  <a:pt x="6273" y="6158"/>
                  <a:pt x="6426" y="6120"/>
                  <a:pt x="6579" y="6082"/>
                </a:cubicBezTo>
                <a:cubicBezTo>
                  <a:pt x="6732" y="5967"/>
                  <a:pt x="6923" y="5852"/>
                  <a:pt x="7153" y="5699"/>
                </a:cubicBezTo>
                <a:cubicBezTo>
                  <a:pt x="6847" y="5623"/>
                  <a:pt x="6847" y="5623"/>
                  <a:pt x="6885" y="5355"/>
                </a:cubicBezTo>
                <a:lnTo>
                  <a:pt x="6885" y="5355"/>
                </a:lnTo>
                <a:cubicBezTo>
                  <a:pt x="6968" y="5391"/>
                  <a:pt x="7036" y="5406"/>
                  <a:pt x="7092" y="5406"/>
                </a:cubicBezTo>
                <a:cubicBezTo>
                  <a:pt x="7404" y="5406"/>
                  <a:pt x="7379" y="4943"/>
                  <a:pt x="7573" y="4782"/>
                </a:cubicBezTo>
                <a:cubicBezTo>
                  <a:pt x="7669" y="4854"/>
                  <a:pt x="7765" y="4956"/>
                  <a:pt x="7852" y="4956"/>
                </a:cubicBezTo>
                <a:cubicBezTo>
                  <a:pt x="7903" y="4956"/>
                  <a:pt x="7951" y="4920"/>
                  <a:pt x="7994" y="4820"/>
                </a:cubicBezTo>
                <a:cubicBezTo>
                  <a:pt x="8032" y="4705"/>
                  <a:pt x="8032" y="4590"/>
                  <a:pt x="8071" y="4552"/>
                </a:cubicBezTo>
                <a:cubicBezTo>
                  <a:pt x="8606" y="4399"/>
                  <a:pt x="8683" y="3902"/>
                  <a:pt x="8759" y="3443"/>
                </a:cubicBezTo>
                <a:cubicBezTo>
                  <a:pt x="8912" y="3519"/>
                  <a:pt x="8989" y="3596"/>
                  <a:pt x="9027" y="3634"/>
                </a:cubicBezTo>
                <a:cubicBezTo>
                  <a:pt x="9180" y="3481"/>
                  <a:pt x="9333" y="3328"/>
                  <a:pt x="9409" y="3328"/>
                </a:cubicBezTo>
                <a:cubicBezTo>
                  <a:pt x="9431" y="3330"/>
                  <a:pt x="9451" y="3331"/>
                  <a:pt x="9469" y="3331"/>
                </a:cubicBezTo>
                <a:cubicBezTo>
                  <a:pt x="9787" y="3331"/>
                  <a:pt x="9419" y="3020"/>
                  <a:pt x="9600" y="2984"/>
                </a:cubicBezTo>
                <a:cubicBezTo>
                  <a:pt x="9983" y="2946"/>
                  <a:pt x="10021" y="2563"/>
                  <a:pt x="10251" y="2410"/>
                </a:cubicBezTo>
                <a:cubicBezTo>
                  <a:pt x="10442" y="2219"/>
                  <a:pt x="10671" y="2104"/>
                  <a:pt x="10863" y="1990"/>
                </a:cubicBezTo>
                <a:cubicBezTo>
                  <a:pt x="10824" y="1913"/>
                  <a:pt x="10786" y="1837"/>
                  <a:pt x="10710" y="1760"/>
                </a:cubicBezTo>
                <a:cubicBezTo>
                  <a:pt x="11016" y="1645"/>
                  <a:pt x="11360" y="1684"/>
                  <a:pt x="11436" y="1301"/>
                </a:cubicBezTo>
                <a:lnTo>
                  <a:pt x="11436" y="1301"/>
                </a:lnTo>
                <a:cubicBezTo>
                  <a:pt x="11322" y="1339"/>
                  <a:pt x="11169" y="1339"/>
                  <a:pt x="11054" y="1378"/>
                </a:cubicBezTo>
                <a:cubicBezTo>
                  <a:pt x="11054" y="1339"/>
                  <a:pt x="11054" y="1301"/>
                  <a:pt x="11016" y="1301"/>
                </a:cubicBezTo>
                <a:cubicBezTo>
                  <a:pt x="11322" y="1148"/>
                  <a:pt x="11589" y="1033"/>
                  <a:pt x="11933" y="842"/>
                </a:cubicBezTo>
                <a:cubicBezTo>
                  <a:pt x="11589" y="574"/>
                  <a:pt x="12201" y="269"/>
                  <a:pt x="11704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2" name="Google Shape;72;p15"/>
          <p:cNvSpPr/>
          <p:nvPr/>
        </p:nvSpPr>
        <p:spPr>
          <a:xfrm>
            <a:off x="1689736" y="4084043"/>
            <a:ext cx="297176" cy="269983"/>
          </a:xfrm>
          <a:custGeom>
            <a:avLst/>
            <a:gdLst/>
            <a:ahLst/>
            <a:cxnLst/>
            <a:rect l="l" t="t" r="r" b="b"/>
            <a:pathLst>
              <a:path w="10863" h="9869" extrusionOk="0">
                <a:moveTo>
                  <a:pt x="10557" y="1"/>
                </a:moveTo>
                <a:cubicBezTo>
                  <a:pt x="10251" y="192"/>
                  <a:pt x="10098" y="422"/>
                  <a:pt x="9792" y="460"/>
                </a:cubicBezTo>
                <a:cubicBezTo>
                  <a:pt x="9562" y="498"/>
                  <a:pt x="9294" y="804"/>
                  <a:pt x="9256" y="995"/>
                </a:cubicBezTo>
                <a:cubicBezTo>
                  <a:pt x="9256" y="1187"/>
                  <a:pt x="9180" y="1263"/>
                  <a:pt x="9065" y="1340"/>
                </a:cubicBezTo>
                <a:cubicBezTo>
                  <a:pt x="8721" y="1646"/>
                  <a:pt x="8185" y="1684"/>
                  <a:pt x="7956" y="2181"/>
                </a:cubicBezTo>
                <a:cubicBezTo>
                  <a:pt x="7879" y="2296"/>
                  <a:pt x="7497" y="2257"/>
                  <a:pt x="7344" y="2410"/>
                </a:cubicBezTo>
                <a:cubicBezTo>
                  <a:pt x="7191" y="2525"/>
                  <a:pt x="7191" y="2793"/>
                  <a:pt x="7000" y="2908"/>
                </a:cubicBezTo>
                <a:cubicBezTo>
                  <a:pt x="6732" y="3099"/>
                  <a:pt x="6350" y="3137"/>
                  <a:pt x="6311" y="3558"/>
                </a:cubicBezTo>
                <a:cubicBezTo>
                  <a:pt x="6286" y="3551"/>
                  <a:pt x="6262" y="3549"/>
                  <a:pt x="6240" y="3549"/>
                </a:cubicBezTo>
                <a:cubicBezTo>
                  <a:pt x="5997" y="3549"/>
                  <a:pt x="5942" y="3905"/>
                  <a:pt x="5661" y="3940"/>
                </a:cubicBezTo>
                <a:cubicBezTo>
                  <a:pt x="5317" y="3979"/>
                  <a:pt x="5164" y="4437"/>
                  <a:pt x="4820" y="4590"/>
                </a:cubicBezTo>
                <a:cubicBezTo>
                  <a:pt x="4705" y="4667"/>
                  <a:pt x="4667" y="4896"/>
                  <a:pt x="4552" y="4973"/>
                </a:cubicBezTo>
                <a:cubicBezTo>
                  <a:pt x="4246" y="5164"/>
                  <a:pt x="4093" y="5508"/>
                  <a:pt x="3749" y="5661"/>
                </a:cubicBezTo>
                <a:cubicBezTo>
                  <a:pt x="3558" y="5776"/>
                  <a:pt x="3366" y="5967"/>
                  <a:pt x="3213" y="6159"/>
                </a:cubicBezTo>
                <a:cubicBezTo>
                  <a:pt x="3175" y="6235"/>
                  <a:pt x="3290" y="6388"/>
                  <a:pt x="3099" y="6465"/>
                </a:cubicBezTo>
                <a:cubicBezTo>
                  <a:pt x="2869" y="6579"/>
                  <a:pt x="2601" y="6732"/>
                  <a:pt x="2487" y="6962"/>
                </a:cubicBezTo>
                <a:cubicBezTo>
                  <a:pt x="2372" y="7229"/>
                  <a:pt x="2104" y="7306"/>
                  <a:pt x="1951" y="7497"/>
                </a:cubicBezTo>
                <a:cubicBezTo>
                  <a:pt x="1645" y="7918"/>
                  <a:pt x="1263" y="8262"/>
                  <a:pt x="919" y="8606"/>
                </a:cubicBezTo>
                <a:cubicBezTo>
                  <a:pt x="957" y="8683"/>
                  <a:pt x="1033" y="8798"/>
                  <a:pt x="1148" y="8950"/>
                </a:cubicBezTo>
                <a:cubicBezTo>
                  <a:pt x="957" y="8912"/>
                  <a:pt x="842" y="8874"/>
                  <a:pt x="689" y="8874"/>
                </a:cubicBezTo>
                <a:cubicBezTo>
                  <a:pt x="613" y="9027"/>
                  <a:pt x="536" y="9371"/>
                  <a:pt x="421" y="9409"/>
                </a:cubicBezTo>
                <a:cubicBezTo>
                  <a:pt x="115" y="9448"/>
                  <a:pt x="77" y="9639"/>
                  <a:pt x="1" y="9868"/>
                </a:cubicBezTo>
                <a:lnTo>
                  <a:pt x="192" y="9868"/>
                </a:lnTo>
                <a:cubicBezTo>
                  <a:pt x="727" y="9524"/>
                  <a:pt x="1263" y="9180"/>
                  <a:pt x="1798" y="8836"/>
                </a:cubicBezTo>
                <a:cubicBezTo>
                  <a:pt x="1837" y="8798"/>
                  <a:pt x="1913" y="8721"/>
                  <a:pt x="1913" y="8683"/>
                </a:cubicBezTo>
                <a:cubicBezTo>
                  <a:pt x="1837" y="8453"/>
                  <a:pt x="1951" y="8415"/>
                  <a:pt x="2142" y="8377"/>
                </a:cubicBezTo>
                <a:cubicBezTo>
                  <a:pt x="2219" y="8377"/>
                  <a:pt x="2295" y="8300"/>
                  <a:pt x="2372" y="8224"/>
                </a:cubicBezTo>
                <a:cubicBezTo>
                  <a:pt x="2563" y="7994"/>
                  <a:pt x="2716" y="7688"/>
                  <a:pt x="2907" y="7612"/>
                </a:cubicBezTo>
                <a:cubicBezTo>
                  <a:pt x="3209" y="7545"/>
                  <a:pt x="3188" y="7126"/>
                  <a:pt x="3461" y="7126"/>
                </a:cubicBezTo>
                <a:cubicBezTo>
                  <a:pt x="3499" y="7126"/>
                  <a:pt x="3544" y="7134"/>
                  <a:pt x="3596" y="7153"/>
                </a:cubicBezTo>
                <a:cubicBezTo>
                  <a:pt x="3672" y="6847"/>
                  <a:pt x="3978" y="6770"/>
                  <a:pt x="4170" y="6617"/>
                </a:cubicBezTo>
                <a:cubicBezTo>
                  <a:pt x="4017" y="6312"/>
                  <a:pt x="4208" y="6235"/>
                  <a:pt x="4437" y="6235"/>
                </a:cubicBezTo>
                <a:cubicBezTo>
                  <a:pt x="4457" y="6237"/>
                  <a:pt x="4476" y="6238"/>
                  <a:pt x="4494" y="6238"/>
                </a:cubicBezTo>
                <a:cubicBezTo>
                  <a:pt x="4865" y="6238"/>
                  <a:pt x="4943" y="5880"/>
                  <a:pt x="5126" y="5661"/>
                </a:cubicBezTo>
                <a:cubicBezTo>
                  <a:pt x="5240" y="5508"/>
                  <a:pt x="5240" y="5317"/>
                  <a:pt x="5470" y="5317"/>
                </a:cubicBezTo>
                <a:cubicBezTo>
                  <a:pt x="5546" y="5279"/>
                  <a:pt x="5623" y="5202"/>
                  <a:pt x="5699" y="5126"/>
                </a:cubicBezTo>
                <a:cubicBezTo>
                  <a:pt x="5776" y="5049"/>
                  <a:pt x="5852" y="4973"/>
                  <a:pt x="5967" y="4858"/>
                </a:cubicBezTo>
                <a:cubicBezTo>
                  <a:pt x="6388" y="4437"/>
                  <a:pt x="7038" y="4208"/>
                  <a:pt x="7229" y="3520"/>
                </a:cubicBezTo>
                <a:cubicBezTo>
                  <a:pt x="7267" y="3443"/>
                  <a:pt x="7420" y="3367"/>
                  <a:pt x="7497" y="3367"/>
                </a:cubicBezTo>
                <a:cubicBezTo>
                  <a:pt x="7553" y="3367"/>
                  <a:pt x="7608" y="3377"/>
                  <a:pt x="7656" y="3377"/>
                </a:cubicBezTo>
                <a:cubicBezTo>
                  <a:pt x="7741" y="3377"/>
                  <a:pt x="7803" y="3346"/>
                  <a:pt x="7803" y="3175"/>
                </a:cubicBezTo>
                <a:cubicBezTo>
                  <a:pt x="7765" y="3099"/>
                  <a:pt x="8071" y="3022"/>
                  <a:pt x="8185" y="2946"/>
                </a:cubicBezTo>
                <a:cubicBezTo>
                  <a:pt x="8262" y="2946"/>
                  <a:pt x="8338" y="2869"/>
                  <a:pt x="8338" y="2793"/>
                </a:cubicBezTo>
                <a:cubicBezTo>
                  <a:pt x="8306" y="2474"/>
                  <a:pt x="8487" y="2448"/>
                  <a:pt x="8703" y="2448"/>
                </a:cubicBezTo>
                <a:cubicBezTo>
                  <a:pt x="8746" y="2448"/>
                  <a:pt x="8791" y="2449"/>
                  <a:pt x="8836" y="2449"/>
                </a:cubicBezTo>
                <a:cubicBezTo>
                  <a:pt x="8797" y="2334"/>
                  <a:pt x="8797" y="2181"/>
                  <a:pt x="8797" y="1990"/>
                </a:cubicBezTo>
                <a:lnTo>
                  <a:pt x="8797" y="1990"/>
                </a:lnTo>
                <a:cubicBezTo>
                  <a:pt x="8856" y="2006"/>
                  <a:pt x="8908" y="2014"/>
                  <a:pt x="8955" y="2014"/>
                </a:cubicBezTo>
                <a:cubicBezTo>
                  <a:pt x="9336" y="2014"/>
                  <a:pt x="9366" y="1514"/>
                  <a:pt x="9639" y="1378"/>
                </a:cubicBezTo>
                <a:cubicBezTo>
                  <a:pt x="9715" y="1454"/>
                  <a:pt x="9792" y="1493"/>
                  <a:pt x="9868" y="1569"/>
                </a:cubicBezTo>
                <a:cubicBezTo>
                  <a:pt x="9945" y="957"/>
                  <a:pt x="10595" y="1034"/>
                  <a:pt x="10863" y="575"/>
                </a:cubicBezTo>
                <a:cubicBezTo>
                  <a:pt x="10786" y="383"/>
                  <a:pt x="10671" y="192"/>
                  <a:pt x="10557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3" name="Google Shape;73;p15"/>
          <p:cNvSpPr/>
          <p:nvPr/>
        </p:nvSpPr>
        <p:spPr>
          <a:xfrm>
            <a:off x="675898" y="3367354"/>
            <a:ext cx="182085" cy="209279"/>
          </a:xfrm>
          <a:custGeom>
            <a:avLst/>
            <a:gdLst/>
            <a:ahLst/>
            <a:cxnLst/>
            <a:rect l="l" t="t" r="r" b="b"/>
            <a:pathLst>
              <a:path w="6656" h="7650" extrusionOk="0">
                <a:moveTo>
                  <a:pt x="6005" y="0"/>
                </a:moveTo>
                <a:cubicBezTo>
                  <a:pt x="5508" y="0"/>
                  <a:pt x="5087" y="192"/>
                  <a:pt x="4934" y="765"/>
                </a:cubicBezTo>
                <a:cubicBezTo>
                  <a:pt x="4896" y="880"/>
                  <a:pt x="4743" y="995"/>
                  <a:pt x="4666" y="1110"/>
                </a:cubicBezTo>
                <a:cubicBezTo>
                  <a:pt x="4513" y="1263"/>
                  <a:pt x="4399" y="1415"/>
                  <a:pt x="4284" y="1568"/>
                </a:cubicBezTo>
                <a:cubicBezTo>
                  <a:pt x="4016" y="1913"/>
                  <a:pt x="3748" y="2295"/>
                  <a:pt x="3481" y="2639"/>
                </a:cubicBezTo>
                <a:cubicBezTo>
                  <a:pt x="3443" y="2678"/>
                  <a:pt x="3366" y="2716"/>
                  <a:pt x="3366" y="2792"/>
                </a:cubicBezTo>
                <a:cubicBezTo>
                  <a:pt x="3404" y="3060"/>
                  <a:pt x="3175" y="3213"/>
                  <a:pt x="3022" y="3366"/>
                </a:cubicBezTo>
                <a:cubicBezTo>
                  <a:pt x="2792" y="3596"/>
                  <a:pt x="2563" y="3825"/>
                  <a:pt x="2525" y="4131"/>
                </a:cubicBezTo>
                <a:cubicBezTo>
                  <a:pt x="2525" y="4246"/>
                  <a:pt x="2410" y="4360"/>
                  <a:pt x="2333" y="4475"/>
                </a:cubicBezTo>
                <a:cubicBezTo>
                  <a:pt x="2257" y="4552"/>
                  <a:pt x="2104" y="4666"/>
                  <a:pt x="2066" y="4781"/>
                </a:cubicBezTo>
                <a:cubicBezTo>
                  <a:pt x="1913" y="5317"/>
                  <a:pt x="1568" y="5776"/>
                  <a:pt x="1148" y="6158"/>
                </a:cubicBezTo>
                <a:cubicBezTo>
                  <a:pt x="918" y="6349"/>
                  <a:pt x="765" y="6617"/>
                  <a:pt x="574" y="6846"/>
                </a:cubicBezTo>
                <a:cubicBezTo>
                  <a:pt x="536" y="6885"/>
                  <a:pt x="459" y="6961"/>
                  <a:pt x="421" y="6999"/>
                </a:cubicBezTo>
                <a:cubicBezTo>
                  <a:pt x="39" y="7114"/>
                  <a:pt x="0" y="7382"/>
                  <a:pt x="0" y="7650"/>
                </a:cubicBezTo>
                <a:cubicBezTo>
                  <a:pt x="268" y="7573"/>
                  <a:pt x="498" y="7497"/>
                  <a:pt x="612" y="7458"/>
                </a:cubicBezTo>
                <a:cubicBezTo>
                  <a:pt x="918" y="7076"/>
                  <a:pt x="1186" y="6808"/>
                  <a:pt x="1454" y="6464"/>
                </a:cubicBezTo>
                <a:cubicBezTo>
                  <a:pt x="1545" y="6529"/>
                  <a:pt x="1628" y="6559"/>
                  <a:pt x="1698" y="6559"/>
                </a:cubicBezTo>
                <a:cubicBezTo>
                  <a:pt x="1834" y="6559"/>
                  <a:pt x="1926" y="6449"/>
                  <a:pt x="1951" y="6273"/>
                </a:cubicBezTo>
                <a:cubicBezTo>
                  <a:pt x="1989" y="5967"/>
                  <a:pt x="2219" y="5852"/>
                  <a:pt x="2295" y="5623"/>
                </a:cubicBezTo>
                <a:cubicBezTo>
                  <a:pt x="2678" y="5584"/>
                  <a:pt x="2678" y="5164"/>
                  <a:pt x="2907" y="5011"/>
                </a:cubicBezTo>
                <a:cubicBezTo>
                  <a:pt x="3060" y="4858"/>
                  <a:pt x="3137" y="4666"/>
                  <a:pt x="3366" y="4513"/>
                </a:cubicBezTo>
                <a:cubicBezTo>
                  <a:pt x="3634" y="4360"/>
                  <a:pt x="3825" y="4016"/>
                  <a:pt x="4054" y="3787"/>
                </a:cubicBezTo>
                <a:cubicBezTo>
                  <a:pt x="4207" y="3634"/>
                  <a:pt x="4016" y="3404"/>
                  <a:pt x="4131" y="3404"/>
                </a:cubicBezTo>
                <a:cubicBezTo>
                  <a:pt x="4513" y="3290"/>
                  <a:pt x="4552" y="2869"/>
                  <a:pt x="4819" y="2639"/>
                </a:cubicBezTo>
                <a:cubicBezTo>
                  <a:pt x="5087" y="2486"/>
                  <a:pt x="5125" y="2027"/>
                  <a:pt x="5355" y="1874"/>
                </a:cubicBezTo>
                <a:cubicBezTo>
                  <a:pt x="5661" y="1683"/>
                  <a:pt x="5623" y="1224"/>
                  <a:pt x="6043" y="1186"/>
                </a:cubicBezTo>
                <a:cubicBezTo>
                  <a:pt x="6043" y="1186"/>
                  <a:pt x="6120" y="1110"/>
                  <a:pt x="6081" y="1071"/>
                </a:cubicBezTo>
                <a:cubicBezTo>
                  <a:pt x="6043" y="689"/>
                  <a:pt x="6311" y="612"/>
                  <a:pt x="6579" y="498"/>
                </a:cubicBezTo>
                <a:cubicBezTo>
                  <a:pt x="6617" y="459"/>
                  <a:pt x="6655" y="345"/>
                  <a:pt x="6655" y="306"/>
                </a:cubicBezTo>
                <a:cubicBezTo>
                  <a:pt x="6426" y="192"/>
                  <a:pt x="6234" y="115"/>
                  <a:pt x="6005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4" name="Google Shape;74;p15"/>
          <p:cNvSpPr/>
          <p:nvPr/>
        </p:nvSpPr>
        <p:spPr>
          <a:xfrm>
            <a:off x="1793337" y="4174320"/>
            <a:ext cx="228100" cy="196448"/>
          </a:xfrm>
          <a:custGeom>
            <a:avLst/>
            <a:gdLst/>
            <a:ahLst/>
            <a:cxnLst/>
            <a:rect l="l" t="t" r="r" b="b"/>
            <a:pathLst>
              <a:path w="8338" h="7181" extrusionOk="0">
                <a:moveTo>
                  <a:pt x="7637" y="0"/>
                </a:moveTo>
                <a:cubicBezTo>
                  <a:pt x="7526" y="0"/>
                  <a:pt x="7417" y="61"/>
                  <a:pt x="7267" y="181"/>
                </a:cubicBezTo>
                <a:cubicBezTo>
                  <a:pt x="6923" y="526"/>
                  <a:pt x="6425" y="755"/>
                  <a:pt x="6196" y="1214"/>
                </a:cubicBezTo>
                <a:cubicBezTo>
                  <a:pt x="6119" y="1329"/>
                  <a:pt x="5890" y="1405"/>
                  <a:pt x="5737" y="1482"/>
                </a:cubicBezTo>
                <a:cubicBezTo>
                  <a:pt x="5699" y="1482"/>
                  <a:pt x="5622" y="1367"/>
                  <a:pt x="5546" y="1290"/>
                </a:cubicBezTo>
                <a:cubicBezTo>
                  <a:pt x="5469" y="1405"/>
                  <a:pt x="5355" y="1482"/>
                  <a:pt x="5316" y="1596"/>
                </a:cubicBezTo>
                <a:cubicBezTo>
                  <a:pt x="5316" y="1749"/>
                  <a:pt x="5355" y="1902"/>
                  <a:pt x="5393" y="2017"/>
                </a:cubicBezTo>
                <a:cubicBezTo>
                  <a:pt x="5087" y="2132"/>
                  <a:pt x="4781" y="2208"/>
                  <a:pt x="4590" y="2361"/>
                </a:cubicBezTo>
                <a:cubicBezTo>
                  <a:pt x="4398" y="2553"/>
                  <a:pt x="4284" y="2859"/>
                  <a:pt x="4169" y="3088"/>
                </a:cubicBezTo>
                <a:cubicBezTo>
                  <a:pt x="4054" y="3012"/>
                  <a:pt x="3939" y="2973"/>
                  <a:pt x="3901" y="2935"/>
                </a:cubicBezTo>
                <a:cubicBezTo>
                  <a:pt x="3633" y="3165"/>
                  <a:pt x="3327" y="3432"/>
                  <a:pt x="3022" y="3662"/>
                </a:cubicBezTo>
                <a:cubicBezTo>
                  <a:pt x="3136" y="3738"/>
                  <a:pt x="3213" y="3815"/>
                  <a:pt x="3289" y="3853"/>
                </a:cubicBezTo>
                <a:cubicBezTo>
                  <a:pt x="3174" y="3968"/>
                  <a:pt x="3098" y="4044"/>
                  <a:pt x="2983" y="4159"/>
                </a:cubicBezTo>
                <a:cubicBezTo>
                  <a:pt x="2811" y="4056"/>
                  <a:pt x="2717" y="3999"/>
                  <a:pt x="2661" y="3999"/>
                </a:cubicBezTo>
                <a:cubicBezTo>
                  <a:pt x="2593" y="3999"/>
                  <a:pt x="2584" y="4084"/>
                  <a:pt x="2563" y="4274"/>
                </a:cubicBezTo>
                <a:cubicBezTo>
                  <a:pt x="2524" y="4388"/>
                  <a:pt x="2524" y="4503"/>
                  <a:pt x="2448" y="4580"/>
                </a:cubicBezTo>
                <a:cubicBezTo>
                  <a:pt x="2209" y="4785"/>
                  <a:pt x="2031" y="5051"/>
                  <a:pt x="1723" y="5051"/>
                </a:cubicBezTo>
                <a:cubicBezTo>
                  <a:pt x="1686" y="5051"/>
                  <a:pt x="1647" y="5047"/>
                  <a:pt x="1606" y="5039"/>
                </a:cubicBezTo>
                <a:lnTo>
                  <a:pt x="1606" y="5039"/>
                </a:lnTo>
                <a:cubicBezTo>
                  <a:pt x="1606" y="5153"/>
                  <a:pt x="1645" y="5306"/>
                  <a:pt x="1606" y="5306"/>
                </a:cubicBezTo>
                <a:cubicBezTo>
                  <a:pt x="1339" y="5459"/>
                  <a:pt x="1071" y="5574"/>
                  <a:pt x="803" y="5727"/>
                </a:cubicBezTo>
                <a:cubicBezTo>
                  <a:pt x="841" y="5842"/>
                  <a:pt x="880" y="5995"/>
                  <a:pt x="880" y="6071"/>
                </a:cubicBezTo>
                <a:cubicBezTo>
                  <a:pt x="650" y="6224"/>
                  <a:pt x="459" y="6301"/>
                  <a:pt x="306" y="6492"/>
                </a:cubicBezTo>
                <a:cubicBezTo>
                  <a:pt x="153" y="6683"/>
                  <a:pt x="0" y="6913"/>
                  <a:pt x="38" y="7180"/>
                </a:cubicBezTo>
                <a:cubicBezTo>
                  <a:pt x="536" y="7066"/>
                  <a:pt x="497" y="7066"/>
                  <a:pt x="765" y="6798"/>
                </a:cubicBezTo>
                <a:cubicBezTo>
                  <a:pt x="841" y="6645"/>
                  <a:pt x="956" y="6568"/>
                  <a:pt x="1109" y="6454"/>
                </a:cubicBezTo>
                <a:cubicBezTo>
                  <a:pt x="1300" y="6339"/>
                  <a:pt x="1492" y="6224"/>
                  <a:pt x="1683" y="6071"/>
                </a:cubicBezTo>
                <a:cubicBezTo>
                  <a:pt x="1874" y="5918"/>
                  <a:pt x="2065" y="5727"/>
                  <a:pt x="2257" y="5612"/>
                </a:cubicBezTo>
                <a:cubicBezTo>
                  <a:pt x="2486" y="5536"/>
                  <a:pt x="2524" y="5268"/>
                  <a:pt x="2754" y="5153"/>
                </a:cubicBezTo>
                <a:cubicBezTo>
                  <a:pt x="2945" y="5077"/>
                  <a:pt x="3060" y="4847"/>
                  <a:pt x="3251" y="4694"/>
                </a:cubicBezTo>
                <a:cubicBezTo>
                  <a:pt x="3442" y="4541"/>
                  <a:pt x="3710" y="4427"/>
                  <a:pt x="3863" y="4235"/>
                </a:cubicBezTo>
                <a:cubicBezTo>
                  <a:pt x="4322" y="3700"/>
                  <a:pt x="4934" y="3279"/>
                  <a:pt x="5469" y="2820"/>
                </a:cubicBezTo>
                <a:cubicBezTo>
                  <a:pt x="6005" y="2361"/>
                  <a:pt x="6617" y="1941"/>
                  <a:pt x="7152" y="1443"/>
                </a:cubicBezTo>
                <a:cubicBezTo>
                  <a:pt x="7343" y="1252"/>
                  <a:pt x="7573" y="1061"/>
                  <a:pt x="7802" y="908"/>
                </a:cubicBezTo>
                <a:cubicBezTo>
                  <a:pt x="7993" y="793"/>
                  <a:pt x="8146" y="640"/>
                  <a:pt x="8338" y="449"/>
                </a:cubicBezTo>
                <a:cubicBezTo>
                  <a:pt x="7989" y="147"/>
                  <a:pt x="7810" y="0"/>
                  <a:pt x="7637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5" name="Google Shape;75;p15"/>
          <p:cNvSpPr/>
          <p:nvPr/>
        </p:nvSpPr>
        <p:spPr>
          <a:xfrm>
            <a:off x="1044174" y="3984657"/>
            <a:ext cx="177900" cy="170076"/>
          </a:xfrm>
          <a:custGeom>
            <a:avLst/>
            <a:gdLst/>
            <a:ahLst/>
            <a:cxnLst/>
            <a:rect l="l" t="t" r="r" b="b"/>
            <a:pathLst>
              <a:path w="6503" h="6217" extrusionOk="0">
                <a:moveTo>
                  <a:pt x="6465" y="1"/>
                </a:moveTo>
                <a:cubicBezTo>
                  <a:pt x="6312" y="77"/>
                  <a:pt x="6197" y="154"/>
                  <a:pt x="6082" y="230"/>
                </a:cubicBezTo>
                <a:cubicBezTo>
                  <a:pt x="5700" y="498"/>
                  <a:pt x="5355" y="804"/>
                  <a:pt x="4935" y="1033"/>
                </a:cubicBezTo>
                <a:cubicBezTo>
                  <a:pt x="4476" y="1301"/>
                  <a:pt x="4170" y="1607"/>
                  <a:pt x="4055" y="2104"/>
                </a:cubicBezTo>
                <a:cubicBezTo>
                  <a:pt x="3940" y="2028"/>
                  <a:pt x="3826" y="1989"/>
                  <a:pt x="3711" y="1875"/>
                </a:cubicBezTo>
                <a:cubicBezTo>
                  <a:pt x="3711" y="2219"/>
                  <a:pt x="3558" y="2410"/>
                  <a:pt x="3328" y="2563"/>
                </a:cubicBezTo>
                <a:cubicBezTo>
                  <a:pt x="2984" y="2831"/>
                  <a:pt x="2678" y="3098"/>
                  <a:pt x="2372" y="3328"/>
                </a:cubicBezTo>
                <a:cubicBezTo>
                  <a:pt x="2372" y="3481"/>
                  <a:pt x="2410" y="3557"/>
                  <a:pt x="2449" y="3710"/>
                </a:cubicBezTo>
                <a:cubicBezTo>
                  <a:pt x="2257" y="3634"/>
                  <a:pt x="2104" y="3596"/>
                  <a:pt x="1913" y="3519"/>
                </a:cubicBezTo>
                <a:lnTo>
                  <a:pt x="1913" y="3519"/>
                </a:lnTo>
                <a:cubicBezTo>
                  <a:pt x="1952" y="3710"/>
                  <a:pt x="1990" y="3825"/>
                  <a:pt x="1990" y="3940"/>
                </a:cubicBezTo>
                <a:cubicBezTo>
                  <a:pt x="1875" y="4016"/>
                  <a:pt x="1760" y="3978"/>
                  <a:pt x="1607" y="4093"/>
                </a:cubicBezTo>
                <a:cubicBezTo>
                  <a:pt x="1301" y="4514"/>
                  <a:pt x="919" y="4896"/>
                  <a:pt x="498" y="5202"/>
                </a:cubicBezTo>
                <a:cubicBezTo>
                  <a:pt x="154" y="5431"/>
                  <a:pt x="1" y="5661"/>
                  <a:pt x="77" y="6082"/>
                </a:cubicBezTo>
                <a:cubicBezTo>
                  <a:pt x="294" y="6168"/>
                  <a:pt x="451" y="6217"/>
                  <a:pt x="582" y="6217"/>
                </a:cubicBezTo>
                <a:cubicBezTo>
                  <a:pt x="799" y="6217"/>
                  <a:pt x="949" y="6085"/>
                  <a:pt x="1187" y="5776"/>
                </a:cubicBezTo>
                <a:cubicBezTo>
                  <a:pt x="1301" y="5623"/>
                  <a:pt x="1416" y="5508"/>
                  <a:pt x="1569" y="5355"/>
                </a:cubicBezTo>
                <a:cubicBezTo>
                  <a:pt x="1799" y="5126"/>
                  <a:pt x="2066" y="4973"/>
                  <a:pt x="2257" y="4705"/>
                </a:cubicBezTo>
                <a:cubicBezTo>
                  <a:pt x="2449" y="4475"/>
                  <a:pt x="2755" y="4361"/>
                  <a:pt x="2908" y="4093"/>
                </a:cubicBezTo>
                <a:cubicBezTo>
                  <a:pt x="3137" y="3596"/>
                  <a:pt x="3634" y="3290"/>
                  <a:pt x="3979" y="2907"/>
                </a:cubicBezTo>
                <a:cubicBezTo>
                  <a:pt x="4285" y="2563"/>
                  <a:pt x="4667" y="2257"/>
                  <a:pt x="4935" y="1875"/>
                </a:cubicBezTo>
                <a:cubicBezTo>
                  <a:pt x="5432" y="1263"/>
                  <a:pt x="5891" y="689"/>
                  <a:pt x="6465" y="192"/>
                </a:cubicBezTo>
                <a:cubicBezTo>
                  <a:pt x="6503" y="154"/>
                  <a:pt x="6465" y="115"/>
                  <a:pt x="6465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6" name="Google Shape;76;p15"/>
          <p:cNvSpPr/>
          <p:nvPr/>
        </p:nvSpPr>
        <p:spPr>
          <a:xfrm>
            <a:off x="643453" y="3369433"/>
            <a:ext cx="129780" cy="130820"/>
          </a:xfrm>
          <a:custGeom>
            <a:avLst/>
            <a:gdLst/>
            <a:ahLst/>
            <a:cxnLst/>
            <a:rect l="l" t="t" r="r" b="b"/>
            <a:pathLst>
              <a:path w="4744" h="4782" extrusionOk="0">
                <a:moveTo>
                  <a:pt x="4323" y="1"/>
                </a:moveTo>
                <a:cubicBezTo>
                  <a:pt x="4055" y="154"/>
                  <a:pt x="3787" y="307"/>
                  <a:pt x="3481" y="498"/>
                </a:cubicBezTo>
                <a:cubicBezTo>
                  <a:pt x="3443" y="575"/>
                  <a:pt x="3405" y="689"/>
                  <a:pt x="3366" y="842"/>
                </a:cubicBezTo>
                <a:cubicBezTo>
                  <a:pt x="3213" y="881"/>
                  <a:pt x="3060" y="919"/>
                  <a:pt x="3022" y="919"/>
                </a:cubicBezTo>
                <a:cubicBezTo>
                  <a:pt x="2716" y="1263"/>
                  <a:pt x="2487" y="1492"/>
                  <a:pt x="2296" y="1760"/>
                </a:cubicBezTo>
                <a:cubicBezTo>
                  <a:pt x="2028" y="2143"/>
                  <a:pt x="1569" y="2372"/>
                  <a:pt x="1531" y="2908"/>
                </a:cubicBezTo>
                <a:cubicBezTo>
                  <a:pt x="1531" y="2984"/>
                  <a:pt x="1454" y="3061"/>
                  <a:pt x="1416" y="3099"/>
                </a:cubicBezTo>
                <a:cubicBezTo>
                  <a:pt x="957" y="3558"/>
                  <a:pt x="498" y="3978"/>
                  <a:pt x="1" y="4399"/>
                </a:cubicBezTo>
                <a:cubicBezTo>
                  <a:pt x="192" y="4514"/>
                  <a:pt x="307" y="4629"/>
                  <a:pt x="536" y="4782"/>
                </a:cubicBezTo>
                <a:cubicBezTo>
                  <a:pt x="689" y="4552"/>
                  <a:pt x="957" y="4361"/>
                  <a:pt x="995" y="4131"/>
                </a:cubicBezTo>
                <a:cubicBezTo>
                  <a:pt x="1110" y="3825"/>
                  <a:pt x="1263" y="3672"/>
                  <a:pt x="1454" y="3520"/>
                </a:cubicBezTo>
                <a:lnTo>
                  <a:pt x="1913" y="3520"/>
                </a:lnTo>
                <a:lnTo>
                  <a:pt x="1913" y="3290"/>
                </a:lnTo>
                <a:cubicBezTo>
                  <a:pt x="2104" y="3175"/>
                  <a:pt x="2257" y="3099"/>
                  <a:pt x="2448" y="2984"/>
                </a:cubicBezTo>
                <a:cubicBezTo>
                  <a:pt x="2601" y="2869"/>
                  <a:pt x="2793" y="2716"/>
                  <a:pt x="2946" y="2563"/>
                </a:cubicBezTo>
                <a:cubicBezTo>
                  <a:pt x="2907" y="2525"/>
                  <a:pt x="2831" y="2449"/>
                  <a:pt x="2831" y="2449"/>
                </a:cubicBezTo>
                <a:cubicBezTo>
                  <a:pt x="3022" y="2181"/>
                  <a:pt x="3328" y="1951"/>
                  <a:pt x="3558" y="1760"/>
                </a:cubicBezTo>
                <a:cubicBezTo>
                  <a:pt x="3825" y="1569"/>
                  <a:pt x="4017" y="1378"/>
                  <a:pt x="4246" y="1148"/>
                </a:cubicBezTo>
                <a:cubicBezTo>
                  <a:pt x="4552" y="881"/>
                  <a:pt x="4590" y="613"/>
                  <a:pt x="4590" y="269"/>
                </a:cubicBezTo>
                <a:cubicBezTo>
                  <a:pt x="4590" y="230"/>
                  <a:pt x="4667" y="192"/>
                  <a:pt x="4743" y="116"/>
                </a:cubicBezTo>
                <a:cubicBezTo>
                  <a:pt x="4552" y="77"/>
                  <a:pt x="4437" y="1"/>
                  <a:pt x="4323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7" name="Google Shape;77;p15"/>
          <p:cNvSpPr/>
          <p:nvPr/>
        </p:nvSpPr>
        <p:spPr>
          <a:xfrm>
            <a:off x="996052" y="4018088"/>
            <a:ext cx="75368" cy="91097"/>
          </a:xfrm>
          <a:custGeom>
            <a:avLst/>
            <a:gdLst/>
            <a:ahLst/>
            <a:cxnLst/>
            <a:rect l="l" t="t" r="r" b="b"/>
            <a:pathLst>
              <a:path w="2755" h="3330" extrusionOk="0">
                <a:moveTo>
                  <a:pt x="2628" y="1"/>
                </a:moveTo>
                <a:cubicBezTo>
                  <a:pt x="2484" y="1"/>
                  <a:pt x="2355" y="24"/>
                  <a:pt x="2295" y="232"/>
                </a:cubicBezTo>
                <a:cubicBezTo>
                  <a:pt x="2224" y="375"/>
                  <a:pt x="2119" y="618"/>
                  <a:pt x="1856" y="618"/>
                </a:cubicBezTo>
                <a:cubicBezTo>
                  <a:pt x="1837" y="618"/>
                  <a:pt x="1818" y="617"/>
                  <a:pt x="1798" y="614"/>
                </a:cubicBezTo>
                <a:cubicBezTo>
                  <a:pt x="1798" y="609"/>
                  <a:pt x="1797" y="607"/>
                  <a:pt x="1794" y="607"/>
                </a:cubicBezTo>
                <a:cubicBezTo>
                  <a:pt x="1778" y="607"/>
                  <a:pt x="1722" y="696"/>
                  <a:pt x="1722" y="729"/>
                </a:cubicBezTo>
                <a:cubicBezTo>
                  <a:pt x="1607" y="997"/>
                  <a:pt x="1454" y="1265"/>
                  <a:pt x="1339" y="1532"/>
                </a:cubicBezTo>
                <a:cubicBezTo>
                  <a:pt x="1186" y="1532"/>
                  <a:pt x="1072" y="1494"/>
                  <a:pt x="1033" y="1494"/>
                </a:cubicBezTo>
                <a:cubicBezTo>
                  <a:pt x="689" y="2068"/>
                  <a:pt x="345" y="2527"/>
                  <a:pt x="1" y="3024"/>
                </a:cubicBezTo>
                <a:cubicBezTo>
                  <a:pt x="115" y="3100"/>
                  <a:pt x="230" y="3215"/>
                  <a:pt x="345" y="3330"/>
                </a:cubicBezTo>
                <a:cubicBezTo>
                  <a:pt x="460" y="3177"/>
                  <a:pt x="613" y="3062"/>
                  <a:pt x="574" y="2986"/>
                </a:cubicBezTo>
                <a:cubicBezTo>
                  <a:pt x="530" y="2852"/>
                  <a:pt x="560" y="2822"/>
                  <a:pt x="614" y="2822"/>
                </a:cubicBezTo>
                <a:cubicBezTo>
                  <a:pt x="658" y="2822"/>
                  <a:pt x="717" y="2842"/>
                  <a:pt x="764" y="2842"/>
                </a:cubicBezTo>
                <a:cubicBezTo>
                  <a:pt x="808" y="2842"/>
                  <a:pt x="842" y="2824"/>
                  <a:pt x="842" y="2756"/>
                </a:cubicBezTo>
                <a:cubicBezTo>
                  <a:pt x="804" y="2680"/>
                  <a:pt x="804" y="2603"/>
                  <a:pt x="766" y="2488"/>
                </a:cubicBezTo>
                <a:cubicBezTo>
                  <a:pt x="957" y="2412"/>
                  <a:pt x="1148" y="2488"/>
                  <a:pt x="1263" y="2259"/>
                </a:cubicBezTo>
                <a:cubicBezTo>
                  <a:pt x="1301" y="2068"/>
                  <a:pt x="1492" y="1915"/>
                  <a:pt x="1569" y="1762"/>
                </a:cubicBezTo>
                <a:cubicBezTo>
                  <a:pt x="1951" y="1188"/>
                  <a:pt x="2487" y="653"/>
                  <a:pt x="2754" y="2"/>
                </a:cubicBezTo>
                <a:cubicBezTo>
                  <a:pt x="2712" y="2"/>
                  <a:pt x="2669" y="1"/>
                  <a:pt x="2628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8" name="Google Shape;78;p15"/>
          <p:cNvSpPr/>
          <p:nvPr/>
        </p:nvSpPr>
        <p:spPr>
          <a:xfrm>
            <a:off x="1071393" y="4017101"/>
            <a:ext cx="1067" cy="1067"/>
          </a:xfrm>
          <a:custGeom>
            <a:avLst/>
            <a:gdLst/>
            <a:ahLst/>
            <a:cxnLst/>
            <a:rect l="l" t="t" r="r" b="b"/>
            <a:pathLst>
              <a:path w="39" h="39" extrusionOk="0">
                <a:moveTo>
                  <a:pt x="0" y="0"/>
                </a:moveTo>
                <a:cubicBezTo>
                  <a:pt x="0" y="0"/>
                  <a:pt x="0" y="0"/>
                  <a:pt x="0" y="38"/>
                </a:cubicBezTo>
                <a:lnTo>
                  <a:pt x="39" y="38"/>
                </a:lnTo>
                <a:lnTo>
                  <a:pt x="0" y="0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79" name="Google Shape;79;p15"/>
          <p:cNvSpPr/>
          <p:nvPr/>
        </p:nvSpPr>
        <p:spPr>
          <a:xfrm>
            <a:off x="1604986" y="4312143"/>
            <a:ext cx="25141" cy="29327"/>
          </a:xfrm>
          <a:custGeom>
            <a:avLst/>
            <a:gdLst/>
            <a:ahLst/>
            <a:cxnLst/>
            <a:rect l="l" t="t" r="r" b="b"/>
            <a:pathLst>
              <a:path w="919" h="1072" extrusionOk="0">
                <a:moveTo>
                  <a:pt x="766" y="1"/>
                </a:moveTo>
                <a:cubicBezTo>
                  <a:pt x="269" y="192"/>
                  <a:pt x="154" y="612"/>
                  <a:pt x="1" y="1071"/>
                </a:cubicBezTo>
                <a:cubicBezTo>
                  <a:pt x="307" y="842"/>
                  <a:pt x="613" y="612"/>
                  <a:pt x="919" y="383"/>
                </a:cubicBezTo>
                <a:cubicBezTo>
                  <a:pt x="919" y="268"/>
                  <a:pt x="880" y="192"/>
                  <a:pt x="842" y="77"/>
                </a:cubicBezTo>
                <a:cubicBezTo>
                  <a:pt x="804" y="77"/>
                  <a:pt x="804" y="39"/>
                  <a:pt x="766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0" name="Google Shape;80;p15"/>
          <p:cNvSpPr/>
          <p:nvPr/>
        </p:nvSpPr>
        <p:spPr>
          <a:xfrm>
            <a:off x="1624873" y="3727285"/>
            <a:ext cx="1067" cy="28"/>
          </a:xfrm>
          <a:custGeom>
            <a:avLst/>
            <a:gdLst/>
            <a:ahLst/>
            <a:cxnLst/>
            <a:rect l="l" t="t" r="r" b="b"/>
            <a:pathLst>
              <a:path w="39" h="1" extrusionOk="0">
                <a:moveTo>
                  <a:pt x="39" y="0"/>
                </a:move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0" y="0"/>
                  <a:pt x="0" y="0"/>
                </a:cubicBezTo>
                <a:lnTo>
                  <a:pt x="39" y="0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1" name="Google Shape;81;p15"/>
          <p:cNvSpPr/>
          <p:nvPr/>
        </p:nvSpPr>
        <p:spPr>
          <a:xfrm>
            <a:off x="1625912" y="3716807"/>
            <a:ext cx="13624" cy="13624"/>
          </a:xfrm>
          <a:custGeom>
            <a:avLst/>
            <a:gdLst/>
            <a:ahLst/>
            <a:cxnLst/>
            <a:rect l="l" t="t" r="r" b="b"/>
            <a:pathLst>
              <a:path w="498" h="498" extrusionOk="0">
                <a:moveTo>
                  <a:pt x="498" y="1"/>
                </a:moveTo>
                <a:lnTo>
                  <a:pt x="498" y="1"/>
                </a:lnTo>
                <a:cubicBezTo>
                  <a:pt x="307" y="154"/>
                  <a:pt x="1" y="77"/>
                  <a:pt x="1" y="383"/>
                </a:cubicBezTo>
                <a:cubicBezTo>
                  <a:pt x="115" y="421"/>
                  <a:pt x="268" y="460"/>
                  <a:pt x="421" y="498"/>
                </a:cubicBezTo>
                <a:cubicBezTo>
                  <a:pt x="460" y="307"/>
                  <a:pt x="460" y="192"/>
                  <a:pt x="498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2" name="Google Shape;82;p15"/>
          <p:cNvSpPr/>
          <p:nvPr/>
        </p:nvSpPr>
        <p:spPr>
          <a:xfrm>
            <a:off x="1982699" y="4077779"/>
            <a:ext cx="12584" cy="14663"/>
          </a:xfrm>
          <a:custGeom>
            <a:avLst/>
            <a:gdLst/>
            <a:ahLst/>
            <a:cxnLst/>
            <a:rect l="l" t="t" r="r" b="b"/>
            <a:pathLst>
              <a:path w="460" h="536" extrusionOk="0">
                <a:moveTo>
                  <a:pt x="1" y="0"/>
                </a:moveTo>
                <a:cubicBezTo>
                  <a:pt x="115" y="192"/>
                  <a:pt x="192" y="306"/>
                  <a:pt x="307" y="536"/>
                </a:cubicBezTo>
                <a:cubicBezTo>
                  <a:pt x="383" y="306"/>
                  <a:pt x="421" y="153"/>
                  <a:pt x="460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3" name="Google Shape;83;p15"/>
          <p:cNvSpPr/>
          <p:nvPr/>
        </p:nvSpPr>
        <p:spPr>
          <a:xfrm>
            <a:off x="1071393" y="4017101"/>
            <a:ext cx="1067" cy="1067"/>
          </a:xfrm>
          <a:custGeom>
            <a:avLst/>
            <a:gdLst/>
            <a:ahLst/>
            <a:cxnLst/>
            <a:rect l="l" t="t" r="r" b="b"/>
            <a:pathLst>
              <a:path w="39" h="39" extrusionOk="0">
                <a:moveTo>
                  <a:pt x="39" y="38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39" y="38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4" name="Google Shape;84;p15"/>
          <p:cNvSpPr/>
          <p:nvPr/>
        </p:nvSpPr>
        <p:spPr>
          <a:xfrm>
            <a:off x="1069287" y="4003477"/>
            <a:ext cx="14691" cy="13651"/>
          </a:xfrm>
          <a:custGeom>
            <a:avLst/>
            <a:gdLst/>
            <a:ahLst/>
            <a:cxnLst/>
            <a:rect l="l" t="t" r="r" b="b"/>
            <a:pathLst>
              <a:path w="537" h="499" extrusionOk="0">
                <a:moveTo>
                  <a:pt x="422" y="1"/>
                </a:moveTo>
                <a:lnTo>
                  <a:pt x="422" y="1"/>
                </a:lnTo>
                <a:cubicBezTo>
                  <a:pt x="269" y="77"/>
                  <a:pt x="154" y="116"/>
                  <a:pt x="1" y="192"/>
                </a:cubicBezTo>
                <a:cubicBezTo>
                  <a:pt x="39" y="307"/>
                  <a:pt x="77" y="383"/>
                  <a:pt x="77" y="498"/>
                </a:cubicBezTo>
                <a:cubicBezTo>
                  <a:pt x="422" y="269"/>
                  <a:pt x="536" y="154"/>
                  <a:pt x="422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5" name="Google Shape;85;p15"/>
          <p:cNvSpPr/>
          <p:nvPr/>
        </p:nvSpPr>
        <p:spPr>
          <a:xfrm>
            <a:off x="1476299" y="4325739"/>
            <a:ext cx="13624" cy="15731"/>
          </a:xfrm>
          <a:custGeom>
            <a:avLst/>
            <a:gdLst/>
            <a:ahLst/>
            <a:cxnLst/>
            <a:rect l="l" t="t" r="r" b="b"/>
            <a:pathLst>
              <a:path w="498" h="575" extrusionOk="0">
                <a:moveTo>
                  <a:pt x="459" y="1"/>
                </a:moveTo>
                <a:cubicBezTo>
                  <a:pt x="307" y="154"/>
                  <a:pt x="154" y="307"/>
                  <a:pt x="1" y="498"/>
                </a:cubicBezTo>
                <a:cubicBezTo>
                  <a:pt x="1" y="498"/>
                  <a:pt x="1" y="574"/>
                  <a:pt x="39" y="574"/>
                </a:cubicBezTo>
                <a:cubicBezTo>
                  <a:pt x="154" y="498"/>
                  <a:pt x="307" y="421"/>
                  <a:pt x="498" y="345"/>
                </a:cubicBezTo>
                <a:cubicBezTo>
                  <a:pt x="498" y="230"/>
                  <a:pt x="498" y="115"/>
                  <a:pt x="459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6" name="Google Shape;86;p15"/>
          <p:cNvSpPr/>
          <p:nvPr/>
        </p:nvSpPr>
        <p:spPr>
          <a:xfrm>
            <a:off x="1488856" y="4324700"/>
            <a:ext cx="1067" cy="1067"/>
          </a:xfrm>
          <a:custGeom>
            <a:avLst/>
            <a:gdLst/>
            <a:ahLst/>
            <a:cxnLst/>
            <a:rect l="l" t="t" r="r" b="b"/>
            <a:pathLst>
              <a:path w="39" h="39" extrusionOk="0">
                <a:moveTo>
                  <a:pt x="0" y="1"/>
                </a:moveTo>
                <a:cubicBezTo>
                  <a:pt x="0" y="39"/>
                  <a:pt x="0" y="39"/>
                  <a:pt x="0" y="39"/>
                </a:cubicBezTo>
                <a:lnTo>
                  <a:pt x="39" y="39"/>
                </a:lnTo>
                <a:lnTo>
                  <a:pt x="0" y="1"/>
                </a:ln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7" name="Google Shape;87;p15"/>
          <p:cNvSpPr/>
          <p:nvPr/>
        </p:nvSpPr>
        <p:spPr>
          <a:xfrm>
            <a:off x="1349693" y="4002439"/>
            <a:ext cx="1095" cy="28"/>
          </a:xfrm>
          <a:custGeom>
            <a:avLst/>
            <a:gdLst/>
            <a:ahLst/>
            <a:cxnLst/>
            <a:rect l="l" t="t" r="r" b="b"/>
            <a:pathLst>
              <a:path w="40" h="1" extrusionOk="0">
                <a:moveTo>
                  <a:pt x="1" y="1"/>
                </a:moveTo>
                <a:lnTo>
                  <a:pt x="39" y="1"/>
                </a:lnTo>
                <a:lnTo>
                  <a:pt x="1" y="1"/>
                </a:ln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8" name="Google Shape;88;p15"/>
          <p:cNvSpPr/>
          <p:nvPr/>
        </p:nvSpPr>
        <p:spPr>
          <a:xfrm>
            <a:off x="1336096" y="3991988"/>
            <a:ext cx="13624" cy="10477"/>
          </a:xfrm>
          <a:custGeom>
            <a:avLst/>
            <a:gdLst/>
            <a:ahLst/>
            <a:cxnLst/>
            <a:rect l="l" t="t" r="r" b="b"/>
            <a:pathLst>
              <a:path w="498" h="383" extrusionOk="0">
                <a:moveTo>
                  <a:pt x="345" y="0"/>
                </a:moveTo>
                <a:cubicBezTo>
                  <a:pt x="192" y="153"/>
                  <a:pt x="115" y="230"/>
                  <a:pt x="1" y="383"/>
                </a:cubicBezTo>
                <a:lnTo>
                  <a:pt x="498" y="383"/>
                </a:lnTo>
                <a:cubicBezTo>
                  <a:pt x="460" y="268"/>
                  <a:pt x="421" y="153"/>
                  <a:pt x="345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89" name="Google Shape;89;p15"/>
          <p:cNvSpPr/>
          <p:nvPr/>
        </p:nvSpPr>
        <p:spPr>
          <a:xfrm>
            <a:off x="2677421" y="2871405"/>
            <a:ext cx="337992" cy="239644"/>
          </a:xfrm>
          <a:custGeom>
            <a:avLst/>
            <a:gdLst/>
            <a:ahLst/>
            <a:cxnLst/>
            <a:rect l="l" t="t" r="r" b="b"/>
            <a:pathLst>
              <a:path w="12355" h="8760" extrusionOk="0">
                <a:moveTo>
                  <a:pt x="12354" y="1"/>
                </a:moveTo>
                <a:cubicBezTo>
                  <a:pt x="11934" y="345"/>
                  <a:pt x="11475" y="154"/>
                  <a:pt x="11322" y="574"/>
                </a:cubicBezTo>
                <a:cubicBezTo>
                  <a:pt x="11092" y="536"/>
                  <a:pt x="10939" y="498"/>
                  <a:pt x="10786" y="460"/>
                </a:cubicBezTo>
                <a:cubicBezTo>
                  <a:pt x="10595" y="689"/>
                  <a:pt x="10442" y="919"/>
                  <a:pt x="10289" y="1148"/>
                </a:cubicBezTo>
                <a:cubicBezTo>
                  <a:pt x="10289" y="1186"/>
                  <a:pt x="10251" y="1186"/>
                  <a:pt x="10213" y="1186"/>
                </a:cubicBezTo>
                <a:cubicBezTo>
                  <a:pt x="10174" y="1072"/>
                  <a:pt x="10136" y="995"/>
                  <a:pt x="10136" y="919"/>
                </a:cubicBezTo>
                <a:cubicBezTo>
                  <a:pt x="9830" y="1110"/>
                  <a:pt x="9409" y="1186"/>
                  <a:pt x="9486" y="1607"/>
                </a:cubicBezTo>
                <a:cubicBezTo>
                  <a:pt x="9384" y="1607"/>
                  <a:pt x="9282" y="1573"/>
                  <a:pt x="9203" y="1573"/>
                </a:cubicBezTo>
                <a:cubicBezTo>
                  <a:pt x="9163" y="1573"/>
                  <a:pt x="9129" y="1582"/>
                  <a:pt x="9103" y="1607"/>
                </a:cubicBezTo>
                <a:cubicBezTo>
                  <a:pt x="8759" y="2028"/>
                  <a:pt x="8224" y="2143"/>
                  <a:pt x="7803" y="2410"/>
                </a:cubicBezTo>
                <a:cubicBezTo>
                  <a:pt x="7803" y="2602"/>
                  <a:pt x="7803" y="2716"/>
                  <a:pt x="7803" y="2946"/>
                </a:cubicBezTo>
                <a:cubicBezTo>
                  <a:pt x="7612" y="2831"/>
                  <a:pt x="7497" y="2754"/>
                  <a:pt x="7344" y="2678"/>
                </a:cubicBezTo>
                <a:cubicBezTo>
                  <a:pt x="7320" y="3143"/>
                  <a:pt x="7248" y="3311"/>
                  <a:pt x="6999" y="3311"/>
                </a:cubicBezTo>
                <a:cubicBezTo>
                  <a:pt x="6859" y="3311"/>
                  <a:pt x="6663" y="3258"/>
                  <a:pt x="6388" y="3175"/>
                </a:cubicBezTo>
                <a:lnTo>
                  <a:pt x="6388" y="3175"/>
                </a:lnTo>
                <a:cubicBezTo>
                  <a:pt x="6497" y="3467"/>
                  <a:pt x="6537" y="3828"/>
                  <a:pt x="6276" y="3828"/>
                </a:cubicBezTo>
                <a:cubicBezTo>
                  <a:pt x="6263" y="3828"/>
                  <a:pt x="6249" y="3827"/>
                  <a:pt x="6235" y="3825"/>
                </a:cubicBezTo>
                <a:cubicBezTo>
                  <a:pt x="6188" y="3819"/>
                  <a:pt x="6143" y="3816"/>
                  <a:pt x="6100" y="3816"/>
                </a:cubicBezTo>
                <a:cubicBezTo>
                  <a:pt x="5616" y="3816"/>
                  <a:pt x="5359" y="4182"/>
                  <a:pt x="4973" y="4323"/>
                </a:cubicBezTo>
                <a:cubicBezTo>
                  <a:pt x="4514" y="4437"/>
                  <a:pt x="4361" y="4782"/>
                  <a:pt x="4208" y="5164"/>
                </a:cubicBezTo>
                <a:cubicBezTo>
                  <a:pt x="4208" y="5240"/>
                  <a:pt x="4170" y="5317"/>
                  <a:pt x="4131" y="5585"/>
                </a:cubicBezTo>
                <a:cubicBezTo>
                  <a:pt x="4017" y="5317"/>
                  <a:pt x="3979" y="5164"/>
                  <a:pt x="3902" y="5126"/>
                </a:cubicBezTo>
                <a:cubicBezTo>
                  <a:pt x="3819" y="5076"/>
                  <a:pt x="3735" y="5047"/>
                  <a:pt x="3661" y="5047"/>
                </a:cubicBezTo>
                <a:cubicBezTo>
                  <a:pt x="3566" y="5047"/>
                  <a:pt x="3486" y="5094"/>
                  <a:pt x="3443" y="5202"/>
                </a:cubicBezTo>
                <a:cubicBezTo>
                  <a:pt x="3290" y="5470"/>
                  <a:pt x="3634" y="5432"/>
                  <a:pt x="3711" y="5623"/>
                </a:cubicBezTo>
                <a:cubicBezTo>
                  <a:pt x="3290" y="5661"/>
                  <a:pt x="2946" y="5852"/>
                  <a:pt x="2640" y="6350"/>
                </a:cubicBezTo>
                <a:cubicBezTo>
                  <a:pt x="2602" y="6044"/>
                  <a:pt x="2602" y="5929"/>
                  <a:pt x="2563" y="5738"/>
                </a:cubicBezTo>
                <a:cubicBezTo>
                  <a:pt x="2296" y="5852"/>
                  <a:pt x="2334" y="6273"/>
                  <a:pt x="2028" y="6273"/>
                </a:cubicBezTo>
                <a:cubicBezTo>
                  <a:pt x="2028" y="6388"/>
                  <a:pt x="2066" y="6503"/>
                  <a:pt x="2066" y="6656"/>
                </a:cubicBezTo>
                <a:cubicBezTo>
                  <a:pt x="1798" y="6656"/>
                  <a:pt x="1569" y="6617"/>
                  <a:pt x="1340" y="6617"/>
                </a:cubicBezTo>
                <a:cubicBezTo>
                  <a:pt x="1378" y="7306"/>
                  <a:pt x="1378" y="7268"/>
                  <a:pt x="689" y="7344"/>
                </a:cubicBezTo>
                <a:cubicBezTo>
                  <a:pt x="536" y="7344"/>
                  <a:pt x="383" y="7459"/>
                  <a:pt x="230" y="7497"/>
                </a:cubicBezTo>
                <a:cubicBezTo>
                  <a:pt x="269" y="7803"/>
                  <a:pt x="269" y="7803"/>
                  <a:pt x="1" y="7956"/>
                </a:cubicBezTo>
                <a:cubicBezTo>
                  <a:pt x="39" y="8224"/>
                  <a:pt x="77" y="8453"/>
                  <a:pt x="154" y="8721"/>
                </a:cubicBezTo>
                <a:cubicBezTo>
                  <a:pt x="230" y="8721"/>
                  <a:pt x="269" y="8759"/>
                  <a:pt x="307" y="8759"/>
                </a:cubicBezTo>
                <a:cubicBezTo>
                  <a:pt x="536" y="8644"/>
                  <a:pt x="766" y="8491"/>
                  <a:pt x="995" y="8415"/>
                </a:cubicBezTo>
                <a:cubicBezTo>
                  <a:pt x="1225" y="8300"/>
                  <a:pt x="1493" y="8224"/>
                  <a:pt x="1722" y="8071"/>
                </a:cubicBezTo>
                <a:cubicBezTo>
                  <a:pt x="1913" y="7956"/>
                  <a:pt x="2181" y="7841"/>
                  <a:pt x="2257" y="7650"/>
                </a:cubicBezTo>
                <a:cubicBezTo>
                  <a:pt x="2410" y="7382"/>
                  <a:pt x="2678" y="7421"/>
                  <a:pt x="2908" y="7268"/>
                </a:cubicBezTo>
                <a:cubicBezTo>
                  <a:pt x="3405" y="6885"/>
                  <a:pt x="3940" y="6541"/>
                  <a:pt x="4476" y="6158"/>
                </a:cubicBezTo>
                <a:cubicBezTo>
                  <a:pt x="4590" y="6120"/>
                  <a:pt x="4782" y="6082"/>
                  <a:pt x="4782" y="6005"/>
                </a:cubicBezTo>
                <a:cubicBezTo>
                  <a:pt x="4820" y="5661"/>
                  <a:pt x="5126" y="5508"/>
                  <a:pt x="5355" y="5470"/>
                </a:cubicBezTo>
                <a:cubicBezTo>
                  <a:pt x="6044" y="5240"/>
                  <a:pt x="6503" y="4667"/>
                  <a:pt x="7115" y="4323"/>
                </a:cubicBezTo>
                <a:cubicBezTo>
                  <a:pt x="7497" y="4093"/>
                  <a:pt x="7765" y="3634"/>
                  <a:pt x="8147" y="3519"/>
                </a:cubicBezTo>
                <a:cubicBezTo>
                  <a:pt x="8606" y="3366"/>
                  <a:pt x="8874" y="2907"/>
                  <a:pt x="9333" y="2754"/>
                </a:cubicBezTo>
                <a:cubicBezTo>
                  <a:pt x="9448" y="2678"/>
                  <a:pt x="9562" y="2525"/>
                  <a:pt x="9715" y="2410"/>
                </a:cubicBezTo>
                <a:cubicBezTo>
                  <a:pt x="9983" y="2181"/>
                  <a:pt x="10251" y="1951"/>
                  <a:pt x="10557" y="1722"/>
                </a:cubicBezTo>
                <a:cubicBezTo>
                  <a:pt x="10939" y="1454"/>
                  <a:pt x="11475" y="1378"/>
                  <a:pt x="11589" y="804"/>
                </a:cubicBezTo>
                <a:cubicBezTo>
                  <a:pt x="11589" y="766"/>
                  <a:pt x="11666" y="766"/>
                  <a:pt x="11704" y="727"/>
                </a:cubicBezTo>
                <a:cubicBezTo>
                  <a:pt x="11934" y="613"/>
                  <a:pt x="12125" y="421"/>
                  <a:pt x="12354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0" name="Google Shape;90;p15"/>
          <p:cNvSpPr/>
          <p:nvPr/>
        </p:nvSpPr>
        <p:spPr>
          <a:xfrm>
            <a:off x="2630341" y="2672631"/>
            <a:ext cx="322289" cy="233352"/>
          </a:xfrm>
          <a:custGeom>
            <a:avLst/>
            <a:gdLst/>
            <a:ahLst/>
            <a:cxnLst/>
            <a:rect l="l" t="t" r="r" b="b"/>
            <a:pathLst>
              <a:path w="11781" h="8530" extrusionOk="0">
                <a:moveTo>
                  <a:pt x="11169" y="0"/>
                </a:moveTo>
                <a:cubicBezTo>
                  <a:pt x="10863" y="191"/>
                  <a:pt x="10595" y="421"/>
                  <a:pt x="10289" y="535"/>
                </a:cubicBezTo>
                <a:cubicBezTo>
                  <a:pt x="9754" y="765"/>
                  <a:pt x="9256" y="1033"/>
                  <a:pt x="8912" y="1492"/>
                </a:cubicBezTo>
                <a:cubicBezTo>
                  <a:pt x="8759" y="1683"/>
                  <a:pt x="8568" y="1683"/>
                  <a:pt x="8377" y="1683"/>
                </a:cubicBezTo>
                <a:cubicBezTo>
                  <a:pt x="8262" y="1683"/>
                  <a:pt x="8185" y="1721"/>
                  <a:pt x="8071" y="1759"/>
                </a:cubicBezTo>
                <a:cubicBezTo>
                  <a:pt x="7994" y="1951"/>
                  <a:pt x="7956" y="2104"/>
                  <a:pt x="7880" y="2295"/>
                </a:cubicBezTo>
                <a:cubicBezTo>
                  <a:pt x="7612" y="2333"/>
                  <a:pt x="7229" y="2295"/>
                  <a:pt x="7153" y="2448"/>
                </a:cubicBezTo>
                <a:cubicBezTo>
                  <a:pt x="7000" y="2677"/>
                  <a:pt x="6809" y="2868"/>
                  <a:pt x="6579" y="3060"/>
                </a:cubicBezTo>
                <a:cubicBezTo>
                  <a:pt x="6503" y="3136"/>
                  <a:pt x="6388" y="3251"/>
                  <a:pt x="6311" y="3251"/>
                </a:cubicBezTo>
                <a:cubicBezTo>
                  <a:pt x="6265" y="3241"/>
                  <a:pt x="6223" y="3236"/>
                  <a:pt x="6184" y="3236"/>
                </a:cubicBezTo>
                <a:cubicBezTo>
                  <a:pt x="5935" y="3236"/>
                  <a:pt x="5832" y="3430"/>
                  <a:pt x="5700" y="3595"/>
                </a:cubicBezTo>
                <a:cubicBezTo>
                  <a:pt x="5623" y="3786"/>
                  <a:pt x="4705" y="4437"/>
                  <a:pt x="4552" y="4513"/>
                </a:cubicBezTo>
                <a:cubicBezTo>
                  <a:pt x="4437" y="4551"/>
                  <a:pt x="4284" y="4590"/>
                  <a:pt x="4323" y="4628"/>
                </a:cubicBezTo>
                <a:cubicBezTo>
                  <a:pt x="4361" y="5010"/>
                  <a:pt x="4017" y="5010"/>
                  <a:pt x="3825" y="5087"/>
                </a:cubicBezTo>
                <a:cubicBezTo>
                  <a:pt x="3519" y="5278"/>
                  <a:pt x="3099" y="5240"/>
                  <a:pt x="3061" y="5699"/>
                </a:cubicBezTo>
                <a:cubicBezTo>
                  <a:pt x="3061" y="5718"/>
                  <a:pt x="3022" y="5718"/>
                  <a:pt x="2974" y="5718"/>
                </a:cubicBezTo>
                <a:cubicBezTo>
                  <a:pt x="2927" y="5718"/>
                  <a:pt x="2869" y="5718"/>
                  <a:pt x="2831" y="5737"/>
                </a:cubicBezTo>
                <a:cubicBezTo>
                  <a:pt x="2716" y="5775"/>
                  <a:pt x="2602" y="5813"/>
                  <a:pt x="2525" y="5852"/>
                </a:cubicBezTo>
                <a:cubicBezTo>
                  <a:pt x="2563" y="5928"/>
                  <a:pt x="2602" y="6005"/>
                  <a:pt x="2678" y="6081"/>
                </a:cubicBezTo>
                <a:cubicBezTo>
                  <a:pt x="2181" y="6272"/>
                  <a:pt x="1722" y="6540"/>
                  <a:pt x="1378" y="6961"/>
                </a:cubicBezTo>
                <a:cubicBezTo>
                  <a:pt x="1318" y="7020"/>
                  <a:pt x="1259" y="7150"/>
                  <a:pt x="1127" y="7150"/>
                </a:cubicBezTo>
                <a:cubicBezTo>
                  <a:pt x="1089" y="7150"/>
                  <a:pt x="1046" y="7139"/>
                  <a:pt x="995" y="7114"/>
                </a:cubicBezTo>
                <a:cubicBezTo>
                  <a:pt x="991" y="7110"/>
                  <a:pt x="985" y="7108"/>
                  <a:pt x="978" y="7108"/>
                </a:cubicBezTo>
                <a:cubicBezTo>
                  <a:pt x="917" y="7108"/>
                  <a:pt x="762" y="7237"/>
                  <a:pt x="728" y="7305"/>
                </a:cubicBezTo>
                <a:cubicBezTo>
                  <a:pt x="613" y="7649"/>
                  <a:pt x="307" y="7764"/>
                  <a:pt x="39" y="7840"/>
                </a:cubicBezTo>
                <a:cubicBezTo>
                  <a:pt x="39" y="8070"/>
                  <a:pt x="1" y="8261"/>
                  <a:pt x="1" y="8452"/>
                </a:cubicBezTo>
                <a:cubicBezTo>
                  <a:pt x="141" y="8506"/>
                  <a:pt x="278" y="8530"/>
                  <a:pt x="409" y="8530"/>
                </a:cubicBezTo>
                <a:cubicBezTo>
                  <a:pt x="741" y="8530"/>
                  <a:pt x="1032" y="8377"/>
                  <a:pt x="1225" y="8185"/>
                </a:cubicBezTo>
                <a:cubicBezTo>
                  <a:pt x="1492" y="7879"/>
                  <a:pt x="1951" y="7879"/>
                  <a:pt x="2143" y="7458"/>
                </a:cubicBezTo>
                <a:cubicBezTo>
                  <a:pt x="2257" y="7229"/>
                  <a:pt x="2640" y="7152"/>
                  <a:pt x="2869" y="6961"/>
                </a:cubicBezTo>
                <a:cubicBezTo>
                  <a:pt x="3137" y="6808"/>
                  <a:pt x="3290" y="6464"/>
                  <a:pt x="3558" y="6425"/>
                </a:cubicBezTo>
                <a:cubicBezTo>
                  <a:pt x="3902" y="6311"/>
                  <a:pt x="3978" y="6043"/>
                  <a:pt x="4170" y="5928"/>
                </a:cubicBezTo>
                <a:cubicBezTo>
                  <a:pt x="4629" y="5622"/>
                  <a:pt x="5164" y="5431"/>
                  <a:pt x="5508" y="4972"/>
                </a:cubicBezTo>
                <a:cubicBezTo>
                  <a:pt x="5547" y="4896"/>
                  <a:pt x="5623" y="4934"/>
                  <a:pt x="5700" y="4896"/>
                </a:cubicBezTo>
                <a:cubicBezTo>
                  <a:pt x="5852" y="4781"/>
                  <a:pt x="6044" y="4704"/>
                  <a:pt x="6197" y="4590"/>
                </a:cubicBezTo>
                <a:cubicBezTo>
                  <a:pt x="6350" y="4475"/>
                  <a:pt x="6541" y="4322"/>
                  <a:pt x="6694" y="4169"/>
                </a:cubicBezTo>
                <a:cubicBezTo>
                  <a:pt x="7153" y="3863"/>
                  <a:pt x="7612" y="3557"/>
                  <a:pt x="8071" y="3251"/>
                </a:cubicBezTo>
                <a:cubicBezTo>
                  <a:pt x="8338" y="3060"/>
                  <a:pt x="8568" y="2754"/>
                  <a:pt x="8836" y="2677"/>
                </a:cubicBezTo>
                <a:cubicBezTo>
                  <a:pt x="9218" y="2601"/>
                  <a:pt x="9295" y="2295"/>
                  <a:pt x="9562" y="2142"/>
                </a:cubicBezTo>
                <a:cubicBezTo>
                  <a:pt x="9868" y="1989"/>
                  <a:pt x="10136" y="1759"/>
                  <a:pt x="10404" y="1568"/>
                </a:cubicBezTo>
                <a:cubicBezTo>
                  <a:pt x="10671" y="1377"/>
                  <a:pt x="10939" y="1147"/>
                  <a:pt x="11207" y="956"/>
                </a:cubicBezTo>
                <a:cubicBezTo>
                  <a:pt x="11475" y="803"/>
                  <a:pt x="11666" y="535"/>
                  <a:pt x="11781" y="191"/>
                </a:cubicBezTo>
                <a:cubicBezTo>
                  <a:pt x="11551" y="115"/>
                  <a:pt x="11360" y="38"/>
                  <a:pt x="11169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1" name="Google Shape;91;p15"/>
          <p:cNvSpPr/>
          <p:nvPr/>
        </p:nvSpPr>
        <p:spPr>
          <a:xfrm>
            <a:off x="2673236" y="2791905"/>
            <a:ext cx="299281" cy="214395"/>
          </a:xfrm>
          <a:custGeom>
            <a:avLst/>
            <a:gdLst/>
            <a:ahLst/>
            <a:cxnLst/>
            <a:rect l="l" t="t" r="r" b="b"/>
            <a:pathLst>
              <a:path w="10940" h="7837" extrusionOk="0">
                <a:moveTo>
                  <a:pt x="10595" y="0"/>
                </a:moveTo>
                <a:cubicBezTo>
                  <a:pt x="10557" y="38"/>
                  <a:pt x="10480" y="153"/>
                  <a:pt x="10404" y="191"/>
                </a:cubicBezTo>
                <a:cubicBezTo>
                  <a:pt x="10136" y="344"/>
                  <a:pt x="9830" y="536"/>
                  <a:pt x="9524" y="689"/>
                </a:cubicBezTo>
                <a:cubicBezTo>
                  <a:pt x="9445" y="655"/>
                  <a:pt x="9378" y="640"/>
                  <a:pt x="9321" y="640"/>
                </a:cubicBezTo>
                <a:cubicBezTo>
                  <a:pt x="8993" y="640"/>
                  <a:pt x="8982" y="1126"/>
                  <a:pt x="8721" y="1224"/>
                </a:cubicBezTo>
                <a:lnTo>
                  <a:pt x="8530" y="1224"/>
                </a:lnTo>
                <a:cubicBezTo>
                  <a:pt x="7918" y="1339"/>
                  <a:pt x="7344" y="1606"/>
                  <a:pt x="6962" y="2104"/>
                </a:cubicBezTo>
                <a:cubicBezTo>
                  <a:pt x="6806" y="2322"/>
                  <a:pt x="6726" y="2565"/>
                  <a:pt x="6454" y="2565"/>
                </a:cubicBezTo>
                <a:cubicBezTo>
                  <a:pt x="6392" y="2565"/>
                  <a:pt x="6320" y="2553"/>
                  <a:pt x="6235" y="2524"/>
                </a:cubicBezTo>
                <a:cubicBezTo>
                  <a:pt x="6197" y="2524"/>
                  <a:pt x="6082" y="2601"/>
                  <a:pt x="6044" y="2639"/>
                </a:cubicBezTo>
                <a:cubicBezTo>
                  <a:pt x="5814" y="3060"/>
                  <a:pt x="5355" y="3174"/>
                  <a:pt x="4973" y="3366"/>
                </a:cubicBezTo>
                <a:cubicBezTo>
                  <a:pt x="4858" y="3442"/>
                  <a:pt x="4629" y="3595"/>
                  <a:pt x="4629" y="3710"/>
                </a:cubicBezTo>
                <a:cubicBezTo>
                  <a:pt x="4629" y="3904"/>
                  <a:pt x="4588" y="3958"/>
                  <a:pt x="4479" y="3958"/>
                </a:cubicBezTo>
                <a:cubicBezTo>
                  <a:pt x="4437" y="3958"/>
                  <a:pt x="4386" y="3950"/>
                  <a:pt x="4323" y="3939"/>
                </a:cubicBezTo>
                <a:cubicBezTo>
                  <a:pt x="4315" y="3935"/>
                  <a:pt x="4305" y="3933"/>
                  <a:pt x="4295" y="3933"/>
                </a:cubicBezTo>
                <a:cubicBezTo>
                  <a:pt x="4207" y="3933"/>
                  <a:pt x="4047" y="4066"/>
                  <a:pt x="3979" y="4169"/>
                </a:cubicBezTo>
                <a:cubicBezTo>
                  <a:pt x="3902" y="4245"/>
                  <a:pt x="3940" y="4398"/>
                  <a:pt x="3864" y="4437"/>
                </a:cubicBezTo>
                <a:cubicBezTo>
                  <a:pt x="3673" y="4551"/>
                  <a:pt x="3481" y="4704"/>
                  <a:pt x="3252" y="4743"/>
                </a:cubicBezTo>
                <a:cubicBezTo>
                  <a:pt x="2908" y="4743"/>
                  <a:pt x="3022" y="5202"/>
                  <a:pt x="2793" y="5202"/>
                </a:cubicBezTo>
                <a:cubicBezTo>
                  <a:pt x="2361" y="5202"/>
                  <a:pt x="2302" y="5744"/>
                  <a:pt x="1914" y="5744"/>
                </a:cubicBezTo>
                <a:cubicBezTo>
                  <a:pt x="1889" y="5744"/>
                  <a:pt x="1864" y="5741"/>
                  <a:pt x="1837" y="5737"/>
                </a:cubicBezTo>
                <a:cubicBezTo>
                  <a:pt x="1799" y="5737"/>
                  <a:pt x="1760" y="5813"/>
                  <a:pt x="1760" y="5852"/>
                </a:cubicBezTo>
                <a:cubicBezTo>
                  <a:pt x="1684" y="6158"/>
                  <a:pt x="1454" y="6234"/>
                  <a:pt x="1225" y="6311"/>
                </a:cubicBezTo>
                <a:cubicBezTo>
                  <a:pt x="689" y="6502"/>
                  <a:pt x="154" y="6731"/>
                  <a:pt x="77" y="7382"/>
                </a:cubicBezTo>
                <a:cubicBezTo>
                  <a:pt x="77" y="7458"/>
                  <a:pt x="39" y="7496"/>
                  <a:pt x="1" y="7573"/>
                </a:cubicBezTo>
                <a:cubicBezTo>
                  <a:pt x="319" y="7748"/>
                  <a:pt x="545" y="7837"/>
                  <a:pt x="708" y="7837"/>
                </a:cubicBezTo>
                <a:cubicBezTo>
                  <a:pt x="937" y="7837"/>
                  <a:pt x="1043" y="7662"/>
                  <a:pt x="1110" y="7305"/>
                </a:cubicBezTo>
                <a:cubicBezTo>
                  <a:pt x="1216" y="7341"/>
                  <a:pt x="1323" y="7368"/>
                  <a:pt x="1425" y="7368"/>
                </a:cubicBezTo>
                <a:cubicBezTo>
                  <a:pt x="1544" y="7368"/>
                  <a:pt x="1658" y="7331"/>
                  <a:pt x="1760" y="7229"/>
                </a:cubicBezTo>
                <a:cubicBezTo>
                  <a:pt x="1875" y="7076"/>
                  <a:pt x="2066" y="6884"/>
                  <a:pt x="2257" y="6884"/>
                </a:cubicBezTo>
                <a:cubicBezTo>
                  <a:pt x="2563" y="6808"/>
                  <a:pt x="2372" y="6425"/>
                  <a:pt x="2640" y="6349"/>
                </a:cubicBezTo>
                <a:cubicBezTo>
                  <a:pt x="2716" y="6425"/>
                  <a:pt x="2755" y="6502"/>
                  <a:pt x="2831" y="6540"/>
                </a:cubicBezTo>
                <a:cubicBezTo>
                  <a:pt x="3061" y="6272"/>
                  <a:pt x="3290" y="6005"/>
                  <a:pt x="3520" y="5737"/>
                </a:cubicBezTo>
                <a:cubicBezTo>
                  <a:pt x="3585" y="5867"/>
                  <a:pt x="3687" y="5936"/>
                  <a:pt x="3777" y="5936"/>
                </a:cubicBezTo>
                <a:cubicBezTo>
                  <a:pt x="3846" y="5936"/>
                  <a:pt x="3907" y="5896"/>
                  <a:pt x="3940" y="5813"/>
                </a:cubicBezTo>
                <a:cubicBezTo>
                  <a:pt x="4170" y="5316"/>
                  <a:pt x="5049" y="5469"/>
                  <a:pt x="5011" y="4704"/>
                </a:cubicBezTo>
                <a:lnTo>
                  <a:pt x="5011" y="4704"/>
                </a:lnTo>
                <a:cubicBezTo>
                  <a:pt x="5076" y="4745"/>
                  <a:pt x="5129" y="4761"/>
                  <a:pt x="5174" y="4761"/>
                </a:cubicBezTo>
                <a:cubicBezTo>
                  <a:pt x="5339" y="4761"/>
                  <a:pt x="5388" y="4535"/>
                  <a:pt x="5508" y="4475"/>
                </a:cubicBezTo>
                <a:cubicBezTo>
                  <a:pt x="5700" y="4360"/>
                  <a:pt x="5929" y="4322"/>
                  <a:pt x="6120" y="4169"/>
                </a:cubicBezTo>
                <a:cubicBezTo>
                  <a:pt x="6388" y="4016"/>
                  <a:pt x="6656" y="3786"/>
                  <a:pt x="6923" y="3595"/>
                </a:cubicBezTo>
                <a:cubicBezTo>
                  <a:pt x="6885" y="3519"/>
                  <a:pt x="6770" y="3327"/>
                  <a:pt x="6809" y="3327"/>
                </a:cubicBezTo>
                <a:cubicBezTo>
                  <a:pt x="6870" y="3266"/>
                  <a:pt x="6918" y="3243"/>
                  <a:pt x="6959" y="3243"/>
                </a:cubicBezTo>
                <a:cubicBezTo>
                  <a:pt x="7070" y="3243"/>
                  <a:pt x="7128" y="3414"/>
                  <a:pt x="7268" y="3442"/>
                </a:cubicBezTo>
                <a:cubicBezTo>
                  <a:pt x="7727" y="3136"/>
                  <a:pt x="8147" y="2830"/>
                  <a:pt x="8568" y="2524"/>
                </a:cubicBezTo>
                <a:cubicBezTo>
                  <a:pt x="8530" y="2410"/>
                  <a:pt x="8530" y="2295"/>
                  <a:pt x="8530" y="2142"/>
                </a:cubicBezTo>
                <a:cubicBezTo>
                  <a:pt x="8657" y="2142"/>
                  <a:pt x="8768" y="2159"/>
                  <a:pt x="8873" y="2159"/>
                </a:cubicBezTo>
                <a:cubicBezTo>
                  <a:pt x="8925" y="2159"/>
                  <a:pt x="8976" y="2155"/>
                  <a:pt x="9027" y="2142"/>
                </a:cubicBezTo>
                <a:cubicBezTo>
                  <a:pt x="9333" y="2065"/>
                  <a:pt x="9371" y="1568"/>
                  <a:pt x="9754" y="1568"/>
                </a:cubicBezTo>
                <a:cubicBezTo>
                  <a:pt x="9792" y="1568"/>
                  <a:pt x="9868" y="1415"/>
                  <a:pt x="9907" y="1300"/>
                </a:cubicBezTo>
                <a:cubicBezTo>
                  <a:pt x="9945" y="1224"/>
                  <a:pt x="10021" y="1033"/>
                  <a:pt x="10060" y="1033"/>
                </a:cubicBezTo>
                <a:cubicBezTo>
                  <a:pt x="10595" y="994"/>
                  <a:pt x="10595" y="459"/>
                  <a:pt x="10939" y="230"/>
                </a:cubicBezTo>
                <a:cubicBezTo>
                  <a:pt x="10825" y="115"/>
                  <a:pt x="10748" y="77"/>
                  <a:pt x="10595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2" name="Google Shape;92;p15"/>
          <p:cNvSpPr/>
          <p:nvPr/>
        </p:nvSpPr>
        <p:spPr>
          <a:xfrm>
            <a:off x="2756947" y="3066019"/>
            <a:ext cx="282540" cy="192536"/>
          </a:xfrm>
          <a:custGeom>
            <a:avLst/>
            <a:gdLst/>
            <a:ahLst/>
            <a:cxnLst/>
            <a:rect l="l" t="t" r="r" b="b"/>
            <a:pathLst>
              <a:path w="10328" h="7038" extrusionOk="0">
                <a:moveTo>
                  <a:pt x="10251" y="1"/>
                </a:moveTo>
                <a:cubicBezTo>
                  <a:pt x="9945" y="115"/>
                  <a:pt x="9600" y="192"/>
                  <a:pt x="9447" y="498"/>
                </a:cubicBezTo>
                <a:cubicBezTo>
                  <a:pt x="9256" y="842"/>
                  <a:pt x="8568" y="689"/>
                  <a:pt x="8721" y="1301"/>
                </a:cubicBezTo>
                <a:cubicBezTo>
                  <a:pt x="8338" y="1339"/>
                  <a:pt x="8032" y="1645"/>
                  <a:pt x="7726" y="1683"/>
                </a:cubicBezTo>
                <a:cubicBezTo>
                  <a:pt x="7382" y="1760"/>
                  <a:pt x="7191" y="1989"/>
                  <a:pt x="6885" y="2142"/>
                </a:cubicBezTo>
                <a:cubicBezTo>
                  <a:pt x="6732" y="2219"/>
                  <a:pt x="6617" y="2410"/>
                  <a:pt x="6464" y="2410"/>
                </a:cubicBezTo>
                <a:cubicBezTo>
                  <a:pt x="6120" y="2487"/>
                  <a:pt x="5814" y="2716"/>
                  <a:pt x="5470" y="2869"/>
                </a:cubicBezTo>
                <a:cubicBezTo>
                  <a:pt x="4820" y="3175"/>
                  <a:pt x="4131" y="3557"/>
                  <a:pt x="3634" y="4131"/>
                </a:cubicBezTo>
                <a:cubicBezTo>
                  <a:pt x="3548" y="4239"/>
                  <a:pt x="3462" y="4286"/>
                  <a:pt x="3369" y="4286"/>
                </a:cubicBezTo>
                <a:cubicBezTo>
                  <a:pt x="3296" y="4286"/>
                  <a:pt x="3220" y="4258"/>
                  <a:pt x="3137" y="4208"/>
                </a:cubicBezTo>
                <a:cubicBezTo>
                  <a:pt x="2869" y="4705"/>
                  <a:pt x="2869" y="4705"/>
                  <a:pt x="2028" y="4896"/>
                </a:cubicBezTo>
                <a:cubicBezTo>
                  <a:pt x="2142" y="4934"/>
                  <a:pt x="2219" y="4973"/>
                  <a:pt x="2257" y="5011"/>
                </a:cubicBezTo>
                <a:cubicBezTo>
                  <a:pt x="2066" y="5126"/>
                  <a:pt x="1836" y="5240"/>
                  <a:pt x="1683" y="5355"/>
                </a:cubicBezTo>
                <a:cubicBezTo>
                  <a:pt x="1588" y="5482"/>
                  <a:pt x="1520" y="5556"/>
                  <a:pt x="1368" y="5556"/>
                </a:cubicBezTo>
                <a:cubicBezTo>
                  <a:pt x="1337" y="5556"/>
                  <a:pt x="1302" y="5553"/>
                  <a:pt x="1263" y="5546"/>
                </a:cubicBezTo>
                <a:cubicBezTo>
                  <a:pt x="1148" y="5546"/>
                  <a:pt x="957" y="5699"/>
                  <a:pt x="919" y="5814"/>
                </a:cubicBezTo>
                <a:cubicBezTo>
                  <a:pt x="804" y="6120"/>
                  <a:pt x="613" y="6349"/>
                  <a:pt x="307" y="6464"/>
                </a:cubicBezTo>
                <a:cubicBezTo>
                  <a:pt x="1" y="6579"/>
                  <a:pt x="39" y="6808"/>
                  <a:pt x="154" y="7038"/>
                </a:cubicBezTo>
                <a:cubicBezTo>
                  <a:pt x="1072" y="7038"/>
                  <a:pt x="1722" y="6388"/>
                  <a:pt x="2487" y="6082"/>
                </a:cubicBezTo>
                <a:cubicBezTo>
                  <a:pt x="3099" y="5776"/>
                  <a:pt x="3519" y="5164"/>
                  <a:pt x="4246" y="5049"/>
                </a:cubicBezTo>
                <a:cubicBezTo>
                  <a:pt x="4322" y="5049"/>
                  <a:pt x="4399" y="4934"/>
                  <a:pt x="4437" y="4858"/>
                </a:cubicBezTo>
                <a:cubicBezTo>
                  <a:pt x="4628" y="4514"/>
                  <a:pt x="4934" y="4361"/>
                  <a:pt x="5279" y="4246"/>
                </a:cubicBezTo>
                <a:cubicBezTo>
                  <a:pt x="5661" y="4093"/>
                  <a:pt x="6043" y="3940"/>
                  <a:pt x="6349" y="3634"/>
                </a:cubicBezTo>
                <a:cubicBezTo>
                  <a:pt x="6808" y="3175"/>
                  <a:pt x="7344" y="2792"/>
                  <a:pt x="7956" y="2487"/>
                </a:cubicBezTo>
                <a:cubicBezTo>
                  <a:pt x="8224" y="2372"/>
                  <a:pt x="8529" y="2334"/>
                  <a:pt x="8682" y="2028"/>
                </a:cubicBezTo>
                <a:cubicBezTo>
                  <a:pt x="9180" y="1989"/>
                  <a:pt x="9447" y="1607"/>
                  <a:pt x="9715" y="1263"/>
                </a:cubicBezTo>
                <a:cubicBezTo>
                  <a:pt x="9753" y="1224"/>
                  <a:pt x="9868" y="1148"/>
                  <a:pt x="9906" y="1148"/>
                </a:cubicBezTo>
                <a:cubicBezTo>
                  <a:pt x="9979" y="1177"/>
                  <a:pt x="10041" y="1190"/>
                  <a:pt x="10096" y="1190"/>
                </a:cubicBezTo>
                <a:cubicBezTo>
                  <a:pt x="10185" y="1190"/>
                  <a:pt x="10256" y="1157"/>
                  <a:pt x="10327" y="1110"/>
                </a:cubicBezTo>
                <a:cubicBezTo>
                  <a:pt x="10327" y="1071"/>
                  <a:pt x="10289" y="1033"/>
                  <a:pt x="10289" y="995"/>
                </a:cubicBezTo>
                <a:cubicBezTo>
                  <a:pt x="10251" y="651"/>
                  <a:pt x="10251" y="345"/>
                  <a:pt x="10251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3" name="Google Shape;93;p15"/>
          <p:cNvSpPr/>
          <p:nvPr/>
        </p:nvSpPr>
        <p:spPr>
          <a:xfrm>
            <a:off x="2640818" y="2557513"/>
            <a:ext cx="275181" cy="214531"/>
          </a:xfrm>
          <a:custGeom>
            <a:avLst/>
            <a:gdLst/>
            <a:ahLst/>
            <a:cxnLst/>
            <a:rect l="l" t="t" r="r" b="b"/>
            <a:pathLst>
              <a:path w="10059" h="7842" extrusionOk="0">
                <a:moveTo>
                  <a:pt x="9141" y="1"/>
                </a:moveTo>
                <a:cubicBezTo>
                  <a:pt x="8988" y="192"/>
                  <a:pt x="8759" y="498"/>
                  <a:pt x="8720" y="498"/>
                </a:cubicBezTo>
                <a:cubicBezTo>
                  <a:pt x="8651" y="458"/>
                  <a:pt x="8594" y="442"/>
                  <a:pt x="8546" y="442"/>
                </a:cubicBezTo>
                <a:cubicBezTo>
                  <a:pt x="8410" y="442"/>
                  <a:pt x="8346" y="576"/>
                  <a:pt x="8261" y="689"/>
                </a:cubicBezTo>
                <a:cubicBezTo>
                  <a:pt x="8070" y="842"/>
                  <a:pt x="7879" y="957"/>
                  <a:pt x="7688" y="1072"/>
                </a:cubicBezTo>
                <a:cubicBezTo>
                  <a:pt x="7420" y="1187"/>
                  <a:pt x="7191" y="1340"/>
                  <a:pt x="6961" y="1607"/>
                </a:cubicBezTo>
                <a:cubicBezTo>
                  <a:pt x="6808" y="1799"/>
                  <a:pt x="6426" y="1875"/>
                  <a:pt x="6158" y="2028"/>
                </a:cubicBezTo>
                <a:cubicBezTo>
                  <a:pt x="6043" y="2066"/>
                  <a:pt x="6005" y="2219"/>
                  <a:pt x="5928" y="2296"/>
                </a:cubicBezTo>
                <a:cubicBezTo>
                  <a:pt x="5852" y="2372"/>
                  <a:pt x="5814" y="2525"/>
                  <a:pt x="5737" y="2525"/>
                </a:cubicBezTo>
                <a:cubicBezTo>
                  <a:pt x="5125" y="2678"/>
                  <a:pt x="4934" y="3405"/>
                  <a:pt x="4284" y="3558"/>
                </a:cubicBezTo>
                <a:cubicBezTo>
                  <a:pt x="4054" y="4285"/>
                  <a:pt x="3213" y="4285"/>
                  <a:pt x="2754" y="4782"/>
                </a:cubicBezTo>
                <a:cubicBezTo>
                  <a:pt x="2601" y="4973"/>
                  <a:pt x="2295" y="4973"/>
                  <a:pt x="2372" y="5317"/>
                </a:cubicBezTo>
                <a:cubicBezTo>
                  <a:pt x="2142" y="5355"/>
                  <a:pt x="1913" y="5317"/>
                  <a:pt x="1874" y="5585"/>
                </a:cubicBezTo>
                <a:cubicBezTo>
                  <a:pt x="1798" y="5929"/>
                  <a:pt x="1530" y="6044"/>
                  <a:pt x="1262" y="6197"/>
                </a:cubicBezTo>
                <a:cubicBezTo>
                  <a:pt x="1109" y="6312"/>
                  <a:pt x="918" y="6388"/>
                  <a:pt x="842" y="6503"/>
                </a:cubicBezTo>
                <a:cubicBezTo>
                  <a:pt x="536" y="6923"/>
                  <a:pt x="306" y="7344"/>
                  <a:pt x="0" y="7841"/>
                </a:cubicBezTo>
                <a:cubicBezTo>
                  <a:pt x="345" y="7765"/>
                  <a:pt x="574" y="7727"/>
                  <a:pt x="803" y="7650"/>
                </a:cubicBezTo>
                <a:cubicBezTo>
                  <a:pt x="956" y="7612"/>
                  <a:pt x="1148" y="7535"/>
                  <a:pt x="1262" y="7382"/>
                </a:cubicBezTo>
                <a:cubicBezTo>
                  <a:pt x="1568" y="6885"/>
                  <a:pt x="2104" y="6694"/>
                  <a:pt x="2563" y="6426"/>
                </a:cubicBezTo>
                <a:cubicBezTo>
                  <a:pt x="2639" y="6350"/>
                  <a:pt x="2792" y="6388"/>
                  <a:pt x="2792" y="6235"/>
                </a:cubicBezTo>
                <a:cubicBezTo>
                  <a:pt x="2754" y="5891"/>
                  <a:pt x="3060" y="5776"/>
                  <a:pt x="3251" y="5700"/>
                </a:cubicBezTo>
                <a:cubicBezTo>
                  <a:pt x="3825" y="5547"/>
                  <a:pt x="4131" y="5049"/>
                  <a:pt x="4666" y="4820"/>
                </a:cubicBezTo>
                <a:cubicBezTo>
                  <a:pt x="4781" y="4743"/>
                  <a:pt x="4858" y="4590"/>
                  <a:pt x="4934" y="4476"/>
                </a:cubicBezTo>
                <a:cubicBezTo>
                  <a:pt x="5164" y="4285"/>
                  <a:pt x="5355" y="3940"/>
                  <a:pt x="5584" y="3902"/>
                </a:cubicBezTo>
                <a:cubicBezTo>
                  <a:pt x="6005" y="3787"/>
                  <a:pt x="6273" y="3558"/>
                  <a:pt x="6464" y="3214"/>
                </a:cubicBezTo>
                <a:cubicBezTo>
                  <a:pt x="6540" y="3137"/>
                  <a:pt x="6617" y="3022"/>
                  <a:pt x="6655" y="3022"/>
                </a:cubicBezTo>
                <a:cubicBezTo>
                  <a:pt x="7114" y="2984"/>
                  <a:pt x="7267" y="2602"/>
                  <a:pt x="7573" y="2410"/>
                </a:cubicBezTo>
                <a:cubicBezTo>
                  <a:pt x="8147" y="1952"/>
                  <a:pt x="8759" y="1607"/>
                  <a:pt x="9332" y="1148"/>
                </a:cubicBezTo>
                <a:cubicBezTo>
                  <a:pt x="9600" y="919"/>
                  <a:pt x="9944" y="728"/>
                  <a:pt x="10059" y="307"/>
                </a:cubicBezTo>
                <a:cubicBezTo>
                  <a:pt x="9715" y="192"/>
                  <a:pt x="9447" y="116"/>
                  <a:pt x="9141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4" name="Google Shape;94;p15"/>
          <p:cNvSpPr/>
          <p:nvPr/>
        </p:nvSpPr>
        <p:spPr>
          <a:xfrm>
            <a:off x="2709866" y="3007422"/>
            <a:ext cx="269956" cy="168271"/>
          </a:xfrm>
          <a:custGeom>
            <a:avLst/>
            <a:gdLst/>
            <a:ahLst/>
            <a:cxnLst/>
            <a:rect l="l" t="t" r="r" b="b"/>
            <a:pathLst>
              <a:path w="9868" h="6151" extrusionOk="0">
                <a:moveTo>
                  <a:pt x="9180" y="1"/>
                </a:moveTo>
                <a:cubicBezTo>
                  <a:pt x="8988" y="574"/>
                  <a:pt x="8415" y="383"/>
                  <a:pt x="8032" y="574"/>
                </a:cubicBezTo>
                <a:cubicBezTo>
                  <a:pt x="7956" y="613"/>
                  <a:pt x="7803" y="651"/>
                  <a:pt x="7803" y="689"/>
                </a:cubicBezTo>
                <a:cubicBezTo>
                  <a:pt x="7764" y="1033"/>
                  <a:pt x="7497" y="1033"/>
                  <a:pt x="7306" y="1072"/>
                </a:cubicBezTo>
                <a:cubicBezTo>
                  <a:pt x="6847" y="1148"/>
                  <a:pt x="6502" y="1416"/>
                  <a:pt x="6120" y="1645"/>
                </a:cubicBezTo>
                <a:cubicBezTo>
                  <a:pt x="5929" y="1760"/>
                  <a:pt x="5699" y="1951"/>
                  <a:pt x="5508" y="1951"/>
                </a:cubicBezTo>
                <a:cubicBezTo>
                  <a:pt x="5202" y="1990"/>
                  <a:pt x="5011" y="1990"/>
                  <a:pt x="5049" y="2372"/>
                </a:cubicBezTo>
                <a:cubicBezTo>
                  <a:pt x="5049" y="2406"/>
                  <a:pt x="4867" y="2531"/>
                  <a:pt x="4773" y="2531"/>
                </a:cubicBezTo>
                <a:cubicBezTo>
                  <a:pt x="4762" y="2531"/>
                  <a:pt x="4751" y="2529"/>
                  <a:pt x="4743" y="2525"/>
                </a:cubicBezTo>
                <a:cubicBezTo>
                  <a:pt x="4705" y="2512"/>
                  <a:pt x="4672" y="2507"/>
                  <a:pt x="4644" y="2507"/>
                </a:cubicBezTo>
                <a:cubicBezTo>
                  <a:pt x="4431" y="2507"/>
                  <a:pt x="4486" y="2833"/>
                  <a:pt x="4344" y="2833"/>
                </a:cubicBezTo>
                <a:cubicBezTo>
                  <a:pt x="4337" y="2833"/>
                  <a:pt x="4330" y="2832"/>
                  <a:pt x="4322" y="2831"/>
                </a:cubicBezTo>
                <a:cubicBezTo>
                  <a:pt x="4251" y="2800"/>
                  <a:pt x="4193" y="2786"/>
                  <a:pt x="4145" y="2786"/>
                </a:cubicBezTo>
                <a:cubicBezTo>
                  <a:pt x="4014" y="2786"/>
                  <a:pt x="3958" y="2892"/>
                  <a:pt x="3902" y="3060"/>
                </a:cubicBezTo>
                <a:cubicBezTo>
                  <a:pt x="3902" y="3099"/>
                  <a:pt x="3749" y="3137"/>
                  <a:pt x="3672" y="3175"/>
                </a:cubicBezTo>
                <a:cubicBezTo>
                  <a:pt x="3557" y="3213"/>
                  <a:pt x="3328" y="3252"/>
                  <a:pt x="3290" y="3328"/>
                </a:cubicBezTo>
                <a:cubicBezTo>
                  <a:pt x="3137" y="3672"/>
                  <a:pt x="2907" y="3825"/>
                  <a:pt x="2525" y="3864"/>
                </a:cubicBezTo>
                <a:cubicBezTo>
                  <a:pt x="2410" y="3864"/>
                  <a:pt x="2257" y="3940"/>
                  <a:pt x="2219" y="4055"/>
                </a:cubicBezTo>
                <a:cubicBezTo>
                  <a:pt x="2028" y="4437"/>
                  <a:pt x="1454" y="4399"/>
                  <a:pt x="1416" y="4896"/>
                </a:cubicBezTo>
                <a:cubicBezTo>
                  <a:pt x="1385" y="4927"/>
                  <a:pt x="1329" y="4983"/>
                  <a:pt x="1288" y="4983"/>
                </a:cubicBezTo>
                <a:cubicBezTo>
                  <a:pt x="1279" y="4983"/>
                  <a:pt x="1270" y="4980"/>
                  <a:pt x="1263" y="4973"/>
                </a:cubicBezTo>
                <a:cubicBezTo>
                  <a:pt x="1213" y="4960"/>
                  <a:pt x="1166" y="4955"/>
                  <a:pt x="1123" y="4955"/>
                </a:cubicBezTo>
                <a:cubicBezTo>
                  <a:pt x="769" y="4955"/>
                  <a:pt x="617" y="5334"/>
                  <a:pt x="345" y="5470"/>
                </a:cubicBezTo>
                <a:cubicBezTo>
                  <a:pt x="115" y="5546"/>
                  <a:pt x="1" y="5738"/>
                  <a:pt x="154" y="5967"/>
                </a:cubicBezTo>
                <a:cubicBezTo>
                  <a:pt x="238" y="6079"/>
                  <a:pt x="342" y="6150"/>
                  <a:pt x="497" y="6150"/>
                </a:cubicBezTo>
                <a:cubicBezTo>
                  <a:pt x="554" y="6150"/>
                  <a:pt x="617" y="6141"/>
                  <a:pt x="689" y="6120"/>
                </a:cubicBezTo>
                <a:cubicBezTo>
                  <a:pt x="1071" y="5929"/>
                  <a:pt x="1798" y="5546"/>
                  <a:pt x="2028" y="5393"/>
                </a:cubicBezTo>
                <a:cubicBezTo>
                  <a:pt x="2295" y="5202"/>
                  <a:pt x="2678" y="5164"/>
                  <a:pt x="2907" y="4973"/>
                </a:cubicBezTo>
                <a:cubicBezTo>
                  <a:pt x="3137" y="4743"/>
                  <a:pt x="3366" y="4514"/>
                  <a:pt x="3672" y="4399"/>
                </a:cubicBezTo>
                <a:lnTo>
                  <a:pt x="3825" y="4399"/>
                </a:lnTo>
                <a:cubicBezTo>
                  <a:pt x="3902" y="4361"/>
                  <a:pt x="4016" y="4361"/>
                  <a:pt x="4093" y="4323"/>
                </a:cubicBezTo>
                <a:cubicBezTo>
                  <a:pt x="4361" y="4055"/>
                  <a:pt x="4590" y="3825"/>
                  <a:pt x="4858" y="3558"/>
                </a:cubicBezTo>
                <a:cubicBezTo>
                  <a:pt x="4918" y="3578"/>
                  <a:pt x="4971" y="3587"/>
                  <a:pt x="5020" y="3587"/>
                </a:cubicBezTo>
                <a:cubicBezTo>
                  <a:pt x="5341" y="3587"/>
                  <a:pt x="5433" y="3193"/>
                  <a:pt x="5699" y="3060"/>
                </a:cubicBezTo>
                <a:cubicBezTo>
                  <a:pt x="6388" y="2716"/>
                  <a:pt x="7038" y="2257"/>
                  <a:pt x="7688" y="1837"/>
                </a:cubicBezTo>
                <a:cubicBezTo>
                  <a:pt x="7803" y="1798"/>
                  <a:pt x="7803" y="1607"/>
                  <a:pt x="7879" y="1569"/>
                </a:cubicBezTo>
                <a:cubicBezTo>
                  <a:pt x="7936" y="1541"/>
                  <a:pt x="7992" y="1533"/>
                  <a:pt x="8047" y="1533"/>
                </a:cubicBezTo>
                <a:cubicBezTo>
                  <a:pt x="8107" y="1533"/>
                  <a:pt x="8164" y="1542"/>
                  <a:pt x="8217" y="1542"/>
                </a:cubicBezTo>
                <a:cubicBezTo>
                  <a:pt x="8246" y="1542"/>
                  <a:pt x="8274" y="1539"/>
                  <a:pt x="8300" y="1531"/>
                </a:cubicBezTo>
                <a:cubicBezTo>
                  <a:pt x="8376" y="1531"/>
                  <a:pt x="8491" y="1454"/>
                  <a:pt x="8453" y="1416"/>
                </a:cubicBezTo>
                <a:cubicBezTo>
                  <a:pt x="8453" y="1033"/>
                  <a:pt x="8797" y="995"/>
                  <a:pt x="8988" y="842"/>
                </a:cubicBezTo>
                <a:cubicBezTo>
                  <a:pt x="9256" y="613"/>
                  <a:pt x="9524" y="460"/>
                  <a:pt x="9868" y="230"/>
                </a:cubicBezTo>
                <a:cubicBezTo>
                  <a:pt x="9600" y="154"/>
                  <a:pt x="9371" y="77"/>
                  <a:pt x="9180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5" name="Google Shape;95;p15"/>
          <p:cNvSpPr/>
          <p:nvPr/>
        </p:nvSpPr>
        <p:spPr>
          <a:xfrm>
            <a:off x="2652336" y="2466498"/>
            <a:ext cx="198801" cy="162197"/>
          </a:xfrm>
          <a:custGeom>
            <a:avLst/>
            <a:gdLst/>
            <a:ahLst/>
            <a:cxnLst/>
            <a:rect l="l" t="t" r="r" b="b"/>
            <a:pathLst>
              <a:path w="7267" h="5929" extrusionOk="0">
                <a:moveTo>
                  <a:pt x="7076" y="1"/>
                </a:moveTo>
                <a:cubicBezTo>
                  <a:pt x="6617" y="345"/>
                  <a:pt x="6005" y="345"/>
                  <a:pt x="5622" y="842"/>
                </a:cubicBezTo>
                <a:cubicBezTo>
                  <a:pt x="5546" y="957"/>
                  <a:pt x="5393" y="995"/>
                  <a:pt x="5240" y="1033"/>
                </a:cubicBezTo>
                <a:cubicBezTo>
                  <a:pt x="5125" y="1110"/>
                  <a:pt x="4972" y="1110"/>
                  <a:pt x="4896" y="1186"/>
                </a:cubicBezTo>
                <a:cubicBezTo>
                  <a:pt x="4131" y="2066"/>
                  <a:pt x="3098" y="2563"/>
                  <a:pt x="2218" y="3251"/>
                </a:cubicBezTo>
                <a:cubicBezTo>
                  <a:pt x="1989" y="3443"/>
                  <a:pt x="1568" y="3557"/>
                  <a:pt x="1530" y="3787"/>
                </a:cubicBezTo>
                <a:cubicBezTo>
                  <a:pt x="1453" y="4093"/>
                  <a:pt x="1109" y="4016"/>
                  <a:pt x="1071" y="4284"/>
                </a:cubicBezTo>
                <a:cubicBezTo>
                  <a:pt x="1033" y="4514"/>
                  <a:pt x="650" y="4628"/>
                  <a:pt x="459" y="4820"/>
                </a:cubicBezTo>
                <a:cubicBezTo>
                  <a:pt x="0" y="5126"/>
                  <a:pt x="0" y="5431"/>
                  <a:pt x="306" y="5929"/>
                </a:cubicBezTo>
                <a:cubicBezTo>
                  <a:pt x="994" y="5661"/>
                  <a:pt x="1492" y="5240"/>
                  <a:pt x="2142" y="4667"/>
                </a:cubicBezTo>
                <a:cubicBezTo>
                  <a:pt x="2639" y="4208"/>
                  <a:pt x="3213" y="3863"/>
                  <a:pt x="3748" y="3481"/>
                </a:cubicBezTo>
                <a:cubicBezTo>
                  <a:pt x="3863" y="3366"/>
                  <a:pt x="3978" y="3328"/>
                  <a:pt x="4092" y="3213"/>
                </a:cubicBezTo>
                <a:cubicBezTo>
                  <a:pt x="4360" y="3022"/>
                  <a:pt x="4590" y="2716"/>
                  <a:pt x="4857" y="2601"/>
                </a:cubicBezTo>
                <a:cubicBezTo>
                  <a:pt x="5507" y="2372"/>
                  <a:pt x="5852" y="1760"/>
                  <a:pt x="6425" y="1454"/>
                </a:cubicBezTo>
                <a:cubicBezTo>
                  <a:pt x="6387" y="1186"/>
                  <a:pt x="6693" y="1263"/>
                  <a:pt x="6770" y="1110"/>
                </a:cubicBezTo>
                <a:cubicBezTo>
                  <a:pt x="6884" y="957"/>
                  <a:pt x="7037" y="689"/>
                  <a:pt x="6999" y="651"/>
                </a:cubicBezTo>
                <a:cubicBezTo>
                  <a:pt x="6731" y="345"/>
                  <a:pt x="7267" y="460"/>
                  <a:pt x="7190" y="268"/>
                </a:cubicBezTo>
                <a:cubicBezTo>
                  <a:pt x="7152" y="192"/>
                  <a:pt x="7114" y="115"/>
                  <a:pt x="7076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6" name="Google Shape;96;p15"/>
          <p:cNvSpPr/>
          <p:nvPr/>
        </p:nvSpPr>
        <p:spPr>
          <a:xfrm>
            <a:off x="2815544" y="3176924"/>
            <a:ext cx="212424" cy="149641"/>
          </a:xfrm>
          <a:custGeom>
            <a:avLst/>
            <a:gdLst/>
            <a:ahLst/>
            <a:cxnLst/>
            <a:rect l="l" t="t" r="r" b="b"/>
            <a:pathLst>
              <a:path w="7765" h="5470" extrusionOk="0">
                <a:moveTo>
                  <a:pt x="7344" y="1"/>
                </a:moveTo>
                <a:cubicBezTo>
                  <a:pt x="7076" y="192"/>
                  <a:pt x="6770" y="383"/>
                  <a:pt x="6426" y="574"/>
                </a:cubicBezTo>
                <a:cubicBezTo>
                  <a:pt x="6234" y="651"/>
                  <a:pt x="6043" y="689"/>
                  <a:pt x="5852" y="727"/>
                </a:cubicBezTo>
                <a:cubicBezTo>
                  <a:pt x="5814" y="766"/>
                  <a:pt x="5699" y="766"/>
                  <a:pt x="5699" y="766"/>
                </a:cubicBezTo>
                <a:cubicBezTo>
                  <a:pt x="5584" y="1263"/>
                  <a:pt x="5087" y="1263"/>
                  <a:pt x="4781" y="1492"/>
                </a:cubicBezTo>
                <a:cubicBezTo>
                  <a:pt x="4500" y="1703"/>
                  <a:pt x="4251" y="2075"/>
                  <a:pt x="3827" y="2075"/>
                </a:cubicBezTo>
                <a:cubicBezTo>
                  <a:pt x="3790" y="2075"/>
                  <a:pt x="3751" y="2072"/>
                  <a:pt x="3710" y="2066"/>
                </a:cubicBezTo>
                <a:cubicBezTo>
                  <a:pt x="3634" y="2066"/>
                  <a:pt x="3557" y="2257"/>
                  <a:pt x="3481" y="2334"/>
                </a:cubicBezTo>
                <a:cubicBezTo>
                  <a:pt x="3404" y="2372"/>
                  <a:pt x="3251" y="2334"/>
                  <a:pt x="3175" y="2410"/>
                </a:cubicBezTo>
                <a:cubicBezTo>
                  <a:pt x="2869" y="2601"/>
                  <a:pt x="2639" y="3022"/>
                  <a:pt x="2333" y="3060"/>
                </a:cubicBezTo>
                <a:cubicBezTo>
                  <a:pt x="1874" y="3099"/>
                  <a:pt x="1836" y="3634"/>
                  <a:pt x="1415" y="3710"/>
                </a:cubicBezTo>
                <a:cubicBezTo>
                  <a:pt x="1339" y="3710"/>
                  <a:pt x="1263" y="3787"/>
                  <a:pt x="1186" y="3825"/>
                </a:cubicBezTo>
                <a:cubicBezTo>
                  <a:pt x="1071" y="3902"/>
                  <a:pt x="918" y="3940"/>
                  <a:pt x="804" y="4055"/>
                </a:cubicBezTo>
                <a:cubicBezTo>
                  <a:pt x="536" y="4361"/>
                  <a:pt x="268" y="4667"/>
                  <a:pt x="0" y="5011"/>
                </a:cubicBezTo>
                <a:cubicBezTo>
                  <a:pt x="0" y="5126"/>
                  <a:pt x="39" y="5240"/>
                  <a:pt x="77" y="5470"/>
                </a:cubicBezTo>
                <a:cubicBezTo>
                  <a:pt x="306" y="5393"/>
                  <a:pt x="536" y="5317"/>
                  <a:pt x="727" y="5240"/>
                </a:cubicBezTo>
                <a:cubicBezTo>
                  <a:pt x="1377" y="4973"/>
                  <a:pt x="1874" y="4399"/>
                  <a:pt x="2563" y="4208"/>
                </a:cubicBezTo>
                <a:cubicBezTo>
                  <a:pt x="2754" y="4131"/>
                  <a:pt x="2869" y="3902"/>
                  <a:pt x="3022" y="3710"/>
                </a:cubicBezTo>
                <a:cubicBezTo>
                  <a:pt x="3098" y="3634"/>
                  <a:pt x="3175" y="3481"/>
                  <a:pt x="3290" y="3443"/>
                </a:cubicBezTo>
                <a:cubicBezTo>
                  <a:pt x="3787" y="3252"/>
                  <a:pt x="4207" y="2869"/>
                  <a:pt x="4666" y="2601"/>
                </a:cubicBezTo>
                <a:cubicBezTo>
                  <a:pt x="5776" y="1989"/>
                  <a:pt x="6732" y="1186"/>
                  <a:pt x="7726" y="383"/>
                </a:cubicBezTo>
                <a:cubicBezTo>
                  <a:pt x="7726" y="383"/>
                  <a:pt x="7726" y="307"/>
                  <a:pt x="7764" y="268"/>
                </a:cubicBezTo>
                <a:cubicBezTo>
                  <a:pt x="7650" y="192"/>
                  <a:pt x="7535" y="115"/>
                  <a:pt x="7344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7" name="Google Shape;97;p15"/>
          <p:cNvSpPr/>
          <p:nvPr/>
        </p:nvSpPr>
        <p:spPr>
          <a:xfrm>
            <a:off x="2851109" y="3292833"/>
            <a:ext cx="187311" cy="131011"/>
          </a:xfrm>
          <a:custGeom>
            <a:avLst/>
            <a:gdLst/>
            <a:ahLst/>
            <a:cxnLst/>
            <a:rect l="l" t="t" r="r" b="b"/>
            <a:pathLst>
              <a:path w="6847" h="4789" extrusionOk="0">
                <a:moveTo>
                  <a:pt x="6400" y="0"/>
                </a:moveTo>
                <a:cubicBezTo>
                  <a:pt x="6306" y="0"/>
                  <a:pt x="6192" y="43"/>
                  <a:pt x="6044" y="124"/>
                </a:cubicBezTo>
                <a:cubicBezTo>
                  <a:pt x="5623" y="315"/>
                  <a:pt x="5240" y="544"/>
                  <a:pt x="4896" y="850"/>
                </a:cubicBezTo>
                <a:cubicBezTo>
                  <a:pt x="4677" y="1048"/>
                  <a:pt x="4584" y="1132"/>
                  <a:pt x="4457" y="1132"/>
                </a:cubicBezTo>
                <a:cubicBezTo>
                  <a:pt x="4363" y="1132"/>
                  <a:pt x="4251" y="1085"/>
                  <a:pt x="4055" y="1003"/>
                </a:cubicBezTo>
                <a:cubicBezTo>
                  <a:pt x="3940" y="1118"/>
                  <a:pt x="3825" y="1195"/>
                  <a:pt x="3711" y="1309"/>
                </a:cubicBezTo>
                <a:cubicBezTo>
                  <a:pt x="3864" y="1386"/>
                  <a:pt x="3940" y="1386"/>
                  <a:pt x="4170" y="1501"/>
                </a:cubicBezTo>
                <a:cubicBezTo>
                  <a:pt x="3880" y="1597"/>
                  <a:pt x="3645" y="1748"/>
                  <a:pt x="3486" y="1748"/>
                </a:cubicBezTo>
                <a:cubicBezTo>
                  <a:pt x="3456" y="1748"/>
                  <a:pt x="3429" y="1742"/>
                  <a:pt x="3405" y="1730"/>
                </a:cubicBezTo>
                <a:cubicBezTo>
                  <a:pt x="3318" y="1696"/>
                  <a:pt x="3246" y="1680"/>
                  <a:pt x="3183" y="1680"/>
                </a:cubicBezTo>
                <a:cubicBezTo>
                  <a:pt x="2969" y="1680"/>
                  <a:pt x="2873" y="1858"/>
                  <a:pt x="2754" y="2036"/>
                </a:cubicBezTo>
                <a:cubicBezTo>
                  <a:pt x="2640" y="2227"/>
                  <a:pt x="2563" y="2418"/>
                  <a:pt x="2449" y="2610"/>
                </a:cubicBezTo>
                <a:cubicBezTo>
                  <a:pt x="2255" y="2549"/>
                  <a:pt x="2119" y="2512"/>
                  <a:pt x="2019" y="2512"/>
                </a:cubicBezTo>
                <a:cubicBezTo>
                  <a:pt x="1805" y="2512"/>
                  <a:pt x="1762" y="2687"/>
                  <a:pt x="1684" y="3183"/>
                </a:cubicBezTo>
                <a:cubicBezTo>
                  <a:pt x="1378" y="3222"/>
                  <a:pt x="957" y="3107"/>
                  <a:pt x="766" y="3489"/>
                </a:cubicBezTo>
                <a:cubicBezTo>
                  <a:pt x="842" y="3566"/>
                  <a:pt x="880" y="3642"/>
                  <a:pt x="995" y="3795"/>
                </a:cubicBezTo>
                <a:cubicBezTo>
                  <a:pt x="727" y="3719"/>
                  <a:pt x="574" y="3681"/>
                  <a:pt x="345" y="3642"/>
                </a:cubicBezTo>
                <a:lnTo>
                  <a:pt x="345" y="3642"/>
                </a:lnTo>
                <a:cubicBezTo>
                  <a:pt x="689" y="4101"/>
                  <a:pt x="1" y="4025"/>
                  <a:pt x="39" y="4331"/>
                </a:cubicBezTo>
                <a:cubicBezTo>
                  <a:pt x="334" y="4647"/>
                  <a:pt x="489" y="4789"/>
                  <a:pt x="653" y="4789"/>
                </a:cubicBezTo>
                <a:cubicBezTo>
                  <a:pt x="786" y="4789"/>
                  <a:pt x="925" y="4694"/>
                  <a:pt x="1148" y="4522"/>
                </a:cubicBezTo>
                <a:cubicBezTo>
                  <a:pt x="1416" y="4331"/>
                  <a:pt x="1722" y="4139"/>
                  <a:pt x="1990" y="3948"/>
                </a:cubicBezTo>
                <a:cubicBezTo>
                  <a:pt x="2257" y="3757"/>
                  <a:pt x="2563" y="3566"/>
                  <a:pt x="2831" y="3336"/>
                </a:cubicBezTo>
                <a:cubicBezTo>
                  <a:pt x="3213" y="2954"/>
                  <a:pt x="3787" y="2839"/>
                  <a:pt x="4055" y="2265"/>
                </a:cubicBezTo>
                <a:cubicBezTo>
                  <a:pt x="4170" y="2036"/>
                  <a:pt x="4514" y="1806"/>
                  <a:pt x="4782" y="1730"/>
                </a:cubicBezTo>
                <a:cubicBezTo>
                  <a:pt x="5546" y="1462"/>
                  <a:pt x="6235" y="1195"/>
                  <a:pt x="6847" y="697"/>
                </a:cubicBezTo>
                <a:cubicBezTo>
                  <a:pt x="6809" y="621"/>
                  <a:pt x="6809" y="544"/>
                  <a:pt x="6770" y="468"/>
                </a:cubicBezTo>
                <a:cubicBezTo>
                  <a:pt x="6671" y="146"/>
                  <a:pt x="6572" y="0"/>
                  <a:pt x="6400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8" name="Google Shape;98;p15"/>
          <p:cNvSpPr/>
          <p:nvPr/>
        </p:nvSpPr>
        <p:spPr>
          <a:xfrm>
            <a:off x="2634526" y="2406861"/>
            <a:ext cx="166383" cy="158012"/>
          </a:xfrm>
          <a:custGeom>
            <a:avLst/>
            <a:gdLst/>
            <a:ahLst/>
            <a:cxnLst/>
            <a:rect l="l" t="t" r="r" b="b"/>
            <a:pathLst>
              <a:path w="6082" h="5776" extrusionOk="0">
                <a:moveTo>
                  <a:pt x="5738" y="1"/>
                </a:moveTo>
                <a:cubicBezTo>
                  <a:pt x="5470" y="115"/>
                  <a:pt x="5164" y="230"/>
                  <a:pt x="4782" y="383"/>
                </a:cubicBezTo>
                <a:cubicBezTo>
                  <a:pt x="4782" y="727"/>
                  <a:pt x="4437" y="880"/>
                  <a:pt x="4170" y="1071"/>
                </a:cubicBezTo>
                <a:cubicBezTo>
                  <a:pt x="3978" y="1186"/>
                  <a:pt x="3672" y="1263"/>
                  <a:pt x="3672" y="1377"/>
                </a:cubicBezTo>
                <a:cubicBezTo>
                  <a:pt x="3672" y="1798"/>
                  <a:pt x="3328" y="1836"/>
                  <a:pt x="3099" y="1989"/>
                </a:cubicBezTo>
                <a:cubicBezTo>
                  <a:pt x="2984" y="2066"/>
                  <a:pt x="2908" y="2219"/>
                  <a:pt x="2793" y="2295"/>
                </a:cubicBezTo>
                <a:cubicBezTo>
                  <a:pt x="2181" y="2831"/>
                  <a:pt x="1760" y="3557"/>
                  <a:pt x="1033" y="3940"/>
                </a:cubicBezTo>
                <a:cubicBezTo>
                  <a:pt x="919" y="4016"/>
                  <a:pt x="766" y="4208"/>
                  <a:pt x="766" y="4284"/>
                </a:cubicBezTo>
                <a:cubicBezTo>
                  <a:pt x="842" y="4590"/>
                  <a:pt x="613" y="4590"/>
                  <a:pt x="460" y="4705"/>
                </a:cubicBezTo>
                <a:cubicBezTo>
                  <a:pt x="307" y="4820"/>
                  <a:pt x="154" y="4973"/>
                  <a:pt x="1" y="5087"/>
                </a:cubicBezTo>
                <a:cubicBezTo>
                  <a:pt x="77" y="5317"/>
                  <a:pt x="116" y="5508"/>
                  <a:pt x="192" y="5776"/>
                </a:cubicBezTo>
                <a:cubicBezTo>
                  <a:pt x="230" y="5776"/>
                  <a:pt x="345" y="5776"/>
                  <a:pt x="422" y="5737"/>
                </a:cubicBezTo>
                <a:cubicBezTo>
                  <a:pt x="842" y="5393"/>
                  <a:pt x="1263" y="5087"/>
                  <a:pt x="1569" y="4667"/>
                </a:cubicBezTo>
                <a:cubicBezTo>
                  <a:pt x="2104" y="3978"/>
                  <a:pt x="2946" y="3634"/>
                  <a:pt x="3443" y="2907"/>
                </a:cubicBezTo>
                <a:cubicBezTo>
                  <a:pt x="4246" y="2563"/>
                  <a:pt x="4705" y="1836"/>
                  <a:pt x="5317" y="1301"/>
                </a:cubicBezTo>
                <a:cubicBezTo>
                  <a:pt x="5585" y="1033"/>
                  <a:pt x="6044" y="842"/>
                  <a:pt x="6082" y="459"/>
                </a:cubicBezTo>
                <a:cubicBezTo>
                  <a:pt x="5929" y="230"/>
                  <a:pt x="5814" y="115"/>
                  <a:pt x="5738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9" name="Google Shape;99;p15"/>
          <p:cNvSpPr/>
          <p:nvPr/>
        </p:nvSpPr>
        <p:spPr>
          <a:xfrm>
            <a:off x="1067207" y="2059486"/>
            <a:ext cx="126635" cy="355773"/>
          </a:xfrm>
          <a:custGeom>
            <a:avLst/>
            <a:gdLst/>
            <a:ahLst/>
            <a:cxnLst/>
            <a:rect l="l" t="t" r="r" b="b"/>
            <a:pathLst>
              <a:path w="4629" h="13005" extrusionOk="0">
                <a:moveTo>
                  <a:pt x="4628" y="1"/>
                </a:moveTo>
                <a:lnTo>
                  <a:pt x="4628" y="1"/>
                </a:lnTo>
                <a:cubicBezTo>
                  <a:pt x="4360" y="192"/>
                  <a:pt x="4093" y="345"/>
                  <a:pt x="3863" y="536"/>
                </a:cubicBezTo>
                <a:cubicBezTo>
                  <a:pt x="3825" y="766"/>
                  <a:pt x="3672" y="919"/>
                  <a:pt x="3557" y="1110"/>
                </a:cubicBezTo>
                <a:cubicBezTo>
                  <a:pt x="3328" y="1607"/>
                  <a:pt x="3137" y="2066"/>
                  <a:pt x="3175" y="2640"/>
                </a:cubicBezTo>
                <a:cubicBezTo>
                  <a:pt x="3175" y="2946"/>
                  <a:pt x="3060" y="3252"/>
                  <a:pt x="2945" y="3558"/>
                </a:cubicBezTo>
                <a:cubicBezTo>
                  <a:pt x="2907" y="3711"/>
                  <a:pt x="2792" y="3902"/>
                  <a:pt x="2678" y="4017"/>
                </a:cubicBezTo>
                <a:cubicBezTo>
                  <a:pt x="2525" y="4170"/>
                  <a:pt x="2486" y="4284"/>
                  <a:pt x="2563" y="4514"/>
                </a:cubicBezTo>
                <a:cubicBezTo>
                  <a:pt x="2639" y="4743"/>
                  <a:pt x="2678" y="5088"/>
                  <a:pt x="2295" y="5202"/>
                </a:cubicBezTo>
                <a:cubicBezTo>
                  <a:pt x="2180" y="5241"/>
                  <a:pt x="2066" y="5508"/>
                  <a:pt x="2104" y="5623"/>
                </a:cubicBezTo>
                <a:cubicBezTo>
                  <a:pt x="2257" y="6005"/>
                  <a:pt x="1951" y="6235"/>
                  <a:pt x="1836" y="6541"/>
                </a:cubicBezTo>
                <a:cubicBezTo>
                  <a:pt x="1683" y="7115"/>
                  <a:pt x="1530" y="7650"/>
                  <a:pt x="1339" y="8186"/>
                </a:cubicBezTo>
                <a:cubicBezTo>
                  <a:pt x="1339" y="8300"/>
                  <a:pt x="1339" y="8415"/>
                  <a:pt x="1339" y="8530"/>
                </a:cubicBezTo>
                <a:cubicBezTo>
                  <a:pt x="1339" y="8759"/>
                  <a:pt x="1148" y="9601"/>
                  <a:pt x="957" y="9677"/>
                </a:cubicBezTo>
                <a:cubicBezTo>
                  <a:pt x="612" y="9830"/>
                  <a:pt x="574" y="10136"/>
                  <a:pt x="574" y="10404"/>
                </a:cubicBezTo>
                <a:cubicBezTo>
                  <a:pt x="498" y="10939"/>
                  <a:pt x="536" y="11436"/>
                  <a:pt x="192" y="11895"/>
                </a:cubicBezTo>
                <a:cubicBezTo>
                  <a:pt x="77" y="12048"/>
                  <a:pt x="115" y="12316"/>
                  <a:pt x="77" y="12507"/>
                </a:cubicBezTo>
                <a:lnTo>
                  <a:pt x="268" y="12507"/>
                </a:lnTo>
                <a:cubicBezTo>
                  <a:pt x="77" y="12813"/>
                  <a:pt x="0" y="12890"/>
                  <a:pt x="77" y="13005"/>
                </a:cubicBezTo>
                <a:cubicBezTo>
                  <a:pt x="421" y="12546"/>
                  <a:pt x="804" y="12125"/>
                  <a:pt x="1186" y="11704"/>
                </a:cubicBezTo>
                <a:cubicBezTo>
                  <a:pt x="1454" y="11169"/>
                  <a:pt x="1530" y="10595"/>
                  <a:pt x="1721" y="10021"/>
                </a:cubicBezTo>
                <a:cubicBezTo>
                  <a:pt x="1951" y="9448"/>
                  <a:pt x="1951" y="8836"/>
                  <a:pt x="2372" y="8300"/>
                </a:cubicBezTo>
                <a:cubicBezTo>
                  <a:pt x="2448" y="8262"/>
                  <a:pt x="2486" y="8109"/>
                  <a:pt x="2448" y="8033"/>
                </a:cubicBezTo>
                <a:cubicBezTo>
                  <a:pt x="2410" y="7421"/>
                  <a:pt x="2792" y="6885"/>
                  <a:pt x="2907" y="6311"/>
                </a:cubicBezTo>
                <a:cubicBezTo>
                  <a:pt x="3022" y="5700"/>
                  <a:pt x="3366" y="5126"/>
                  <a:pt x="3443" y="4514"/>
                </a:cubicBezTo>
                <a:cubicBezTo>
                  <a:pt x="3481" y="4208"/>
                  <a:pt x="3710" y="4017"/>
                  <a:pt x="3710" y="3711"/>
                </a:cubicBezTo>
                <a:cubicBezTo>
                  <a:pt x="3748" y="3328"/>
                  <a:pt x="3825" y="2869"/>
                  <a:pt x="4016" y="2525"/>
                </a:cubicBezTo>
                <a:cubicBezTo>
                  <a:pt x="4246" y="2143"/>
                  <a:pt x="4016" y="1645"/>
                  <a:pt x="4399" y="1301"/>
                </a:cubicBezTo>
                <a:cubicBezTo>
                  <a:pt x="4437" y="1301"/>
                  <a:pt x="4437" y="1186"/>
                  <a:pt x="4437" y="1110"/>
                </a:cubicBezTo>
                <a:cubicBezTo>
                  <a:pt x="4360" y="689"/>
                  <a:pt x="4475" y="345"/>
                  <a:pt x="4628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0" name="Google Shape;100;p15"/>
          <p:cNvSpPr/>
          <p:nvPr/>
        </p:nvSpPr>
        <p:spPr>
          <a:xfrm>
            <a:off x="963635" y="2110752"/>
            <a:ext cx="126607" cy="375661"/>
          </a:xfrm>
          <a:custGeom>
            <a:avLst/>
            <a:gdLst/>
            <a:ahLst/>
            <a:cxnLst/>
            <a:rect l="l" t="t" r="r" b="b"/>
            <a:pathLst>
              <a:path w="4628" h="13732" extrusionOk="0">
                <a:moveTo>
                  <a:pt x="4360" y="1"/>
                </a:moveTo>
                <a:cubicBezTo>
                  <a:pt x="4131" y="1"/>
                  <a:pt x="3901" y="39"/>
                  <a:pt x="3978" y="269"/>
                </a:cubicBezTo>
                <a:cubicBezTo>
                  <a:pt x="4131" y="613"/>
                  <a:pt x="3978" y="766"/>
                  <a:pt x="3786" y="919"/>
                </a:cubicBezTo>
                <a:cubicBezTo>
                  <a:pt x="3633" y="1072"/>
                  <a:pt x="3480" y="1225"/>
                  <a:pt x="3404" y="1301"/>
                </a:cubicBezTo>
                <a:cubicBezTo>
                  <a:pt x="3442" y="1531"/>
                  <a:pt x="3519" y="1837"/>
                  <a:pt x="3442" y="1913"/>
                </a:cubicBezTo>
                <a:cubicBezTo>
                  <a:pt x="3021" y="2372"/>
                  <a:pt x="3136" y="2946"/>
                  <a:pt x="2983" y="3443"/>
                </a:cubicBezTo>
                <a:lnTo>
                  <a:pt x="2639" y="3443"/>
                </a:lnTo>
                <a:cubicBezTo>
                  <a:pt x="2677" y="3673"/>
                  <a:pt x="2715" y="3902"/>
                  <a:pt x="2754" y="4131"/>
                </a:cubicBezTo>
                <a:cubicBezTo>
                  <a:pt x="2639" y="4246"/>
                  <a:pt x="2486" y="4361"/>
                  <a:pt x="2333" y="4514"/>
                </a:cubicBezTo>
                <a:cubicBezTo>
                  <a:pt x="2448" y="4743"/>
                  <a:pt x="2486" y="4935"/>
                  <a:pt x="2104" y="5011"/>
                </a:cubicBezTo>
                <a:cubicBezTo>
                  <a:pt x="2218" y="5126"/>
                  <a:pt x="2333" y="5202"/>
                  <a:pt x="2448" y="5279"/>
                </a:cubicBezTo>
                <a:cubicBezTo>
                  <a:pt x="2295" y="5508"/>
                  <a:pt x="1951" y="5700"/>
                  <a:pt x="2142" y="6120"/>
                </a:cubicBezTo>
                <a:cubicBezTo>
                  <a:pt x="2180" y="6159"/>
                  <a:pt x="2027" y="6312"/>
                  <a:pt x="1951" y="6388"/>
                </a:cubicBezTo>
                <a:cubicBezTo>
                  <a:pt x="1836" y="6541"/>
                  <a:pt x="1683" y="6656"/>
                  <a:pt x="1530" y="6809"/>
                </a:cubicBezTo>
                <a:cubicBezTo>
                  <a:pt x="1912" y="7115"/>
                  <a:pt x="1645" y="7268"/>
                  <a:pt x="1415" y="7421"/>
                </a:cubicBezTo>
                <a:cubicBezTo>
                  <a:pt x="1492" y="7497"/>
                  <a:pt x="1568" y="7535"/>
                  <a:pt x="1606" y="7612"/>
                </a:cubicBezTo>
                <a:cubicBezTo>
                  <a:pt x="1645" y="7650"/>
                  <a:pt x="1645" y="7765"/>
                  <a:pt x="1645" y="7803"/>
                </a:cubicBezTo>
                <a:cubicBezTo>
                  <a:pt x="1339" y="7803"/>
                  <a:pt x="1147" y="7880"/>
                  <a:pt x="1147" y="8109"/>
                </a:cubicBezTo>
                <a:cubicBezTo>
                  <a:pt x="1186" y="8453"/>
                  <a:pt x="1224" y="8797"/>
                  <a:pt x="1224" y="9180"/>
                </a:cubicBezTo>
                <a:lnTo>
                  <a:pt x="841" y="9180"/>
                </a:lnTo>
                <a:cubicBezTo>
                  <a:pt x="880" y="9448"/>
                  <a:pt x="994" y="9715"/>
                  <a:pt x="994" y="9983"/>
                </a:cubicBezTo>
                <a:cubicBezTo>
                  <a:pt x="994" y="10251"/>
                  <a:pt x="535" y="10404"/>
                  <a:pt x="803" y="10748"/>
                </a:cubicBezTo>
                <a:cubicBezTo>
                  <a:pt x="382" y="10863"/>
                  <a:pt x="612" y="11207"/>
                  <a:pt x="535" y="11436"/>
                </a:cubicBezTo>
                <a:cubicBezTo>
                  <a:pt x="344" y="11895"/>
                  <a:pt x="535" y="12393"/>
                  <a:pt x="191" y="12813"/>
                </a:cubicBezTo>
                <a:cubicBezTo>
                  <a:pt x="153" y="12890"/>
                  <a:pt x="191" y="13081"/>
                  <a:pt x="38" y="13234"/>
                </a:cubicBezTo>
                <a:cubicBezTo>
                  <a:pt x="0" y="13311"/>
                  <a:pt x="38" y="13464"/>
                  <a:pt x="38" y="13540"/>
                </a:cubicBezTo>
                <a:cubicBezTo>
                  <a:pt x="38" y="13616"/>
                  <a:pt x="77" y="13693"/>
                  <a:pt x="77" y="13731"/>
                </a:cubicBezTo>
                <a:cubicBezTo>
                  <a:pt x="268" y="13655"/>
                  <a:pt x="497" y="13540"/>
                  <a:pt x="688" y="13425"/>
                </a:cubicBezTo>
                <a:cubicBezTo>
                  <a:pt x="765" y="13234"/>
                  <a:pt x="803" y="13043"/>
                  <a:pt x="841" y="12813"/>
                </a:cubicBezTo>
                <a:cubicBezTo>
                  <a:pt x="956" y="12354"/>
                  <a:pt x="956" y="11857"/>
                  <a:pt x="1186" y="11475"/>
                </a:cubicBezTo>
                <a:cubicBezTo>
                  <a:pt x="1377" y="11092"/>
                  <a:pt x="1186" y="10557"/>
                  <a:pt x="1606" y="10251"/>
                </a:cubicBezTo>
                <a:cubicBezTo>
                  <a:pt x="1645" y="10251"/>
                  <a:pt x="1645" y="10136"/>
                  <a:pt x="1645" y="10060"/>
                </a:cubicBezTo>
                <a:cubicBezTo>
                  <a:pt x="1606" y="9448"/>
                  <a:pt x="2065" y="9027"/>
                  <a:pt x="2065" y="8415"/>
                </a:cubicBezTo>
                <a:cubicBezTo>
                  <a:pt x="2065" y="8224"/>
                  <a:pt x="2371" y="7918"/>
                  <a:pt x="2333" y="7841"/>
                </a:cubicBezTo>
                <a:cubicBezTo>
                  <a:pt x="2065" y="7535"/>
                  <a:pt x="2448" y="7459"/>
                  <a:pt x="2524" y="7268"/>
                </a:cubicBezTo>
                <a:cubicBezTo>
                  <a:pt x="2677" y="6503"/>
                  <a:pt x="2945" y="5776"/>
                  <a:pt x="3174" y="5011"/>
                </a:cubicBezTo>
                <a:cubicBezTo>
                  <a:pt x="3289" y="4667"/>
                  <a:pt x="3327" y="4246"/>
                  <a:pt x="3480" y="3940"/>
                </a:cubicBezTo>
                <a:cubicBezTo>
                  <a:pt x="3901" y="3137"/>
                  <a:pt x="4016" y="2257"/>
                  <a:pt x="4322" y="1454"/>
                </a:cubicBezTo>
                <a:cubicBezTo>
                  <a:pt x="4475" y="995"/>
                  <a:pt x="4628" y="498"/>
                  <a:pt x="4360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1" name="Google Shape;101;p15"/>
          <p:cNvSpPr/>
          <p:nvPr/>
        </p:nvSpPr>
        <p:spPr>
          <a:xfrm>
            <a:off x="852704" y="2235281"/>
            <a:ext cx="104667" cy="308665"/>
          </a:xfrm>
          <a:custGeom>
            <a:avLst/>
            <a:gdLst/>
            <a:ahLst/>
            <a:cxnLst/>
            <a:rect l="l" t="t" r="r" b="b"/>
            <a:pathLst>
              <a:path w="3826" h="11283" extrusionOk="0">
                <a:moveTo>
                  <a:pt x="3673" y="0"/>
                </a:moveTo>
                <a:cubicBezTo>
                  <a:pt x="3175" y="230"/>
                  <a:pt x="3405" y="803"/>
                  <a:pt x="3061" y="1148"/>
                </a:cubicBezTo>
                <a:cubicBezTo>
                  <a:pt x="2793" y="1415"/>
                  <a:pt x="2869" y="1912"/>
                  <a:pt x="2640" y="2257"/>
                </a:cubicBezTo>
                <a:cubicBezTo>
                  <a:pt x="2410" y="2601"/>
                  <a:pt x="2372" y="2983"/>
                  <a:pt x="2257" y="3404"/>
                </a:cubicBezTo>
                <a:cubicBezTo>
                  <a:pt x="2181" y="3748"/>
                  <a:pt x="1990" y="4054"/>
                  <a:pt x="1913" y="4398"/>
                </a:cubicBezTo>
                <a:cubicBezTo>
                  <a:pt x="1646" y="5278"/>
                  <a:pt x="1416" y="6158"/>
                  <a:pt x="1110" y="6999"/>
                </a:cubicBezTo>
                <a:cubicBezTo>
                  <a:pt x="766" y="7994"/>
                  <a:pt x="728" y="9064"/>
                  <a:pt x="269" y="9982"/>
                </a:cubicBezTo>
                <a:cubicBezTo>
                  <a:pt x="345" y="10441"/>
                  <a:pt x="116" y="10862"/>
                  <a:pt x="1" y="11283"/>
                </a:cubicBezTo>
                <a:cubicBezTo>
                  <a:pt x="116" y="11245"/>
                  <a:pt x="230" y="11206"/>
                  <a:pt x="345" y="11168"/>
                </a:cubicBezTo>
                <a:cubicBezTo>
                  <a:pt x="422" y="10939"/>
                  <a:pt x="575" y="10709"/>
                  <a:pt x="842" y="10633"/>
                </a:cubicBezTo>
                <a:cubicBezTo>
                  <a:pt x="881" y="10594"/>
                  <a:pt x="919" y="10594"/>
                  <a:pt x="957" y="10556"/>
                </a:cubicBezTo>
                <a:cubicBezTo>
                  <a:pt x="842" y="10327"/>
                  <a:pt x="881" y="10135"/>
                  <a:pt x="995" y="9868"/>
                </a:cubicBezTo>
                <a:cubicBezTo>
                  <a:pt x="1072" y="9944"/>
                  <a:pt x="1110" y="9982"/>
                  <a:pt x="1187" y="10059"/>
                </a:cubicBezTo>
                <a:cubicBezTo>
                  <a:pt x="1416" y="9829"/>
                  <a:pt x="1378" y="9600"/>
                  <a:pt x="1148" y="9409"/>
                </a:cubicBezTo>
                <a:cubicBezTo>
                  <a:pt x="1301" y="9179"/>
                  <a:pt x="1493" y="8988"/>
                  <a:pt x="1646" y="8797"/>
                </a:cubicBezTo>
                <a:cubicBezTo>
                  <a:pt x="1340" y="8414"/>
                  <a:pt x="1340" y="8376"/>
                  <a:pt x="1684" y="8108"/>
                </a:cubicBezTo>
                <a:cubicBezTo>
                  <a:pt x="1913" y="7917"/>
                  <a:pt x="1951" y="7726"/>
                  <a:pt x="1875" y="7458"/>
                </a:cubicBezTo>
                <a:cubicBezTo>
                  <a:pt x="1875" y="7343"/>
                  <a:pt x="1760" y="7190"/>
                  <a:pt x="1646" y="6884"/>
                </a:cubicBezTo>
                <a:lnTo>
                  <a:pt x="1646" y="6884"/>
                </a:lnTo>
                <a:cubicBezTo>
                  <a:pt x="1812" y="7007"/>
                  <a:pt x="1927" y="7052"/>
                  <a:pt x="2006" y="7052"/>
                </a:cubicBezTo>
                <a:cubicBezTo>
                  <a:pt x="2197" y="7052"/>
                  <a:pt x="2170" y="6786"/>
                  <a:pt x="2143" y="6731"/>
                </a:cubicBezTo>
                <a:cubicBezTo>
                  <a:pt x="2066" y="6273"/>
                  <a:pt x="2410" y="5967"/>
                  <a:pt x="2525" y="5622"/>
                </a:cubicBezTo>
                <a:cubicBezTo>
                  <a:pt x="2563" y="5584"/>
                  <a:pt x="2563" y="5508"/>
                  <a:pt x="2563" y="5469"/>
                </a:cubicBezTo>
                <a:cubicBezTo>
                  <a:pt x="2487" y="5431"/>
                  <a:pt x="2410" y="5393"/>
                  <a:pt x="2372" y="5355"/>
                </a:cubicBezTo>
                <a:cubicBezTo>
                  <a:pt x="2525" y="5163"/>
                  <a:pt x="2678" y="5010"/>
                  <a:pt x="2793" y="4857"/>
                </a:cubicBezTo>
                <a:cubicBezTo>
                  <a:pt x="3022" y="4551"/>
                  <a:pt x="2487" y="4475"/>
                  <a:pt x="2602" y="4169"/>
                </a:cubicBezTo>
                <a:cubicBezTo>
                  <a:pt x="2678" y="4169"/>
                  <a:pt x="2793" y="4169"/>
                  <a:pt x="2946" y="4131"/>
                </a:cubicBezTo>
                <a:cubicBezTo>
                  <a:pt x="2984" y="3940"/>
                  <a:pt x="2908" y="3710"/>
                  <a:pt x="3022" y="3557"/>
                </a:cubicBezTo>
                <a:cubicBezTo>
                  <a:pt x="3175" y="3213"/>
                  <a:pt x="2984" y="2639"/>
                  <a:pt x="3520" y="2563"/>
                </a:cubicBezTo>
                <a:cubicBezTo>
                  <a:pt x="3634" y="1836"/>
                  <a:pt x="3749" y="1186"/>
                  <a:pt x="3826" y="536"/>
                </a:cubicBezTo>
                <a:cubicBezTo>
                  <a:pt x="3816" y="517"/>
                  <a:pt x="3790" y="512"/>
                  <a:pt x="3759" y="512"/>
                </a:cubicBezTo>
                <a:cubicBezTo>
                  <a:pt x="3728" y="512"/>
                  <a:pt x="3692" y="517"/>
                  <a:pt x="3663" y="517"/>
                </a:cubicBezTo>
                <a:cubicBezTo>
                  <a:pt x="3606" y="517"/>
                  <a:pt x="3577" y="497"/>
                  <a:pt x="3673" y="383"/>
                </a:cubicBezTo>
                <a:cubicBezTo>
                  <a:pt x="3749" y="230"/>
                  <a:pt x="3787" y="153"/>
                  <a:pt x="3673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2" name="Google Shape;102;p15"/>
          <p:cNvSpPr/>
          <p:nvPr/>
        </p:nvSpPr>
        <p:spPr>
          <a:xfrm>
            <a:off x="783657" y="2359697"/>
            <a:ext cx="70143" cy="189472"/>
          </a:xfrm>
          <a:custGeom>
            <a:avLst/>
            <a:gdLst/>
            <a:ahLst/>
            <a:cxnLst/>
            <a:rect l="l" t="t" r="r" b="b"/>
            <a:pathLst>
              <a:path w="2564" h="6926" extrusionOk="0">
                <a:moveTo>
                  <a:pt x="2419" y="1"/>
                </a:moveTo>
                <a:cubicBezTo>
                  <a:pt x="2028" y="1"/>
                  <a:pt x="2024" y="319"/>
                  <a:pt x="1951" y="501"/>
                </a:cubicBezTo>
                <a:cubicBezTo>
                  <a:pt x="1760" y="998"/>
                  <a:pt x="1645" y="1495"/>
                  <a:pt x="1454" y="1992"/>
                </a:cubicBezTo>
                <a:cubicBezTo>
                  <a:pt x="1301" y="2298"/>
                  <a:pt x="1148" y="2604"/>
                  <a:pt x="1148" y="2987"/>
                </a:cubicBezTo>
                <a:cubicBezTo>
                  <a:pt x="1148" y="3331"/>
                  <a:pt x="651" y="3560"/>
                  <a:pt x="842" y="4019"/>
                </a:cubicBezTo>
                <a:cubicBezTo>
                  <a:pt x="498" y="4631"/>
                  <a:pt x="421" y="5358"/>
                  <a:pt x="230" y="6046"/>
                </a:cubicBezTo>
                <a:cubicBezTo>
                  <a:pt x="154" y="6314"/>
                  <a:pt x="77" y="6620"/>
                  <a:pt x="1" y="6926"/>
                </a:cubicBezTo>
                <a:cubicBezTo>
                  <a:pt x="230" y="6850"/>
                  <a:pt x="498" y="6850"/>
                  <a:pt x="766" y="6850"/>
                </a:cubicBezTo>
                <a:cubicBezTo>
                  <a:pt x="766" y="6811"/>
                  <a:pt x="766" y="6773"/>
                  <a:pt x="804" y="6735"/>
                </a:cubicBezTo>
                <a:cubicBezTo>
                  <a:pt x="957" y="6544"/>
                  <a:pt x="842" y="6161"/>
                  <a:pt x="880" y="5855"/>
                </a:cubicBezTo>
                <a:cubicBezTo>
                  <a:pt x="919" y="5626"/>
                  <a:pt x="1033" y="5434"/>
                  <a:pt x="1110" y="5205"/>
                </a:cubicBezTo>
                <a:lnTo>
                  <a:pt x="1186" y="5205"/>
                </a:lnTo>
                <a:cubicBezTo>
                  <a:pt x="1263" y="5205"/>
                  <a:pt x="1339" y="5205"/>
                  <a:pt x="1416" y="5167"/>
                </a:cubicBezTo>
                <a:cubicBezTo>
                  <a:pt x="1110" y="4822"/>
                  <a:pt x="1110" y="4822"/>
                  <a:pt x="1225" y="4440"/>
                </a:cubicBezTo>
                <a:lnTo>
                  <a:pt x="1225" y="4440"/>
                </a:lnTo>
                <a:cubicBezTo>
                  <a:pt x="1301" y="4478"/>
                  <a:pt x="1378" y="4516"/>
                  <a:pt x="1492" y="4555"/>
                </a:cubicBezTo>
                <a:cubicBezTo>
                  <a:pt x="1531" y="4172"/>
                  <a:pt x="1301" y="3713"/>
                  <a:pt x="1798" y="3446"/>
                </a:cubicBezTo>
                <a:cubicBezTo>
                  <a:pt x="1837" y="3446"/>
                  <a:pt x="1798" y="3293"/>
                  <a:pt x="1798" y="3216"/>
                </a:cubicBezTo>
                <a:cubicBezTo>
                  <a:pt x="1798" y="2987"/>
                  <a:pt x="1798" y="2757"/>
                  <a:pt x="1837" y="2489"/>
                </a:cubicBezTo>
                <a:cubicBezTo>
                  <a:pt x="1951" y="2489"/>
                  <a:pt x="2028" y="2489"/>
                  <a:pt x="2142" y="2528"/>
                </a:cubicBezTo>
                <a:cubicBezTo>
                  <a:pt x="2257" y="1686"/>
                  <a:pt x="2563" y="883"/>
                  <a:pt x="2487" y="3"/>
                </a:cubicBezTo>
                <a:cubicBezTo>
                  <a:pt x="2463" y="1"/>
                  <a:pt x="2440" y="1"/>
                  <a:pt x="2419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3" name="Google Shape;103;p15"/>
          <p:cNvSpPr/>
          <p:nvPr/>
        </p:nvSpPr>
        <p:spPr>
          <a:xfrm>
            <a:off x="953157" y="2235281"/>
            <a:ext cx="1067" cy="28"/>
          </a:xfrm>
          <a:custGeom>
            <a:avLst/>
            <a:gdLst/>
            <a:ahLst/>
            <a:cxnLst/>
            <a:rect l="l" t="t" r="r" b="b"/>
            <a:pathLst>
              <a:path w="39" h="1" extrusionOk="0">
                <a:moveTo>
                  <a:pt x="39" y="0"/>
                </a:moveTo>
                <a:cubicBezTo>
                  <a:pt x="39" y="0"/>
                  <a:pt x="39" y="0"/>
                  <a:pt x="39" y="0"/>
                </a:cubicBezTo>
                <a:cubicBezTo>
                  <a:pt x="1" y="0"/>
                  <a:pt x="1" y="0"/>
                  <a:pt x="1" y="0"/>
                </a:cubicBezTo>
                <a:lnTo>
                  <a:pt x="39" y="0"/>
                </a:lnTo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4" name="Google Shape;104;p15"/>
          <p:cNvSpPr/>
          <p:nvPr/>
        </p:nvSpPr>
        <p:spPr>
          <a:xfrm>
            <a:off x="954197" y="2224802"/>
            <a:ext cx="15731" cy="10615"/>
          </a:xfrm>
          <a:custGeom>
            <a:avLst/>
            <a:gdLst/>
            <a:ahLst/>
            <a:cxnLst/>
            <a:rect l="l" t="t" r="r" b="b"/>
            <a:pathLst>
              <a:path w="575" h="388" extrusionOk="0">
                <a:moveTo>
                  <a:pt x="223" y="0"/>
                </a:moveTo>
                <a:cubicBezTo>
                  <a:pt x="36" y="0"/>
                  <a:pt x="28" y="88"/>
                  <a:pt x="1" y="383"/>
                </a:cubicBezTo>
                <a:cubicBezTo>
                  <a:pt x="21" y="386"/>
                  <a:pt x="40" y="387"/>
                  <a:pt x="58" y="387"/>
                </a:cubicBezTo>
                <a:cubicBezTo>
                  <a:pt x="281" y="387"/>
                  <a:pt x="362" y="180"/>
                  <a:pt x="574" y="39"/>
                </a:cubicBezTo>
                <a:cubicBezTo>
                  <a:pt x="414" y="16"/>
                  <a:pt x="302" y="0"/>
                  <a:pt x="223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07" name="Google Shape;107;p15"/>
          <p:cNvSpPr/>
          <p:nvPr/>
        </p:nvSpPr>
        <p:spPr>
          <a:xfrm>
            <a:off x="-6268" y="2395343"/>
            <a:ext cx="4185" cy="53400"/>
          </a:xfrm>
          <a:custGeom>
            <a:avLst/>
            <a:gdLst/>
            <a:ahLst/>
            <a:cxnLst/>
            <a:rect l="l" t="t" r="r" b="b"/>
            <a:pathLst>
              <a:path w="153" h="1952" extrusionOk="0">
                <a:moveTo>
                  <a:pt x="0" y="1"/>
                </a:moveTo>
                <a:lnTo>
                  <a:pt x="0" y="1951"/>
                </a:lnTo>
                <a:cubicBezTo>
                  <a:pt x="0" y="1798"/>
                  <a:pt x="38" y="1607"/>
                  <a:pt x="38" y="1454"/>
                </a:cubicBezTo>
                <a:cubicBezTo>
                  <a:pt x="0" y="1148"/>
                  <a:pt x="115" y="880"/>
                  <a:pt x="115" y="575"/>
                </a:cubicBezTo>
                <a:cubicBezTo>
                  <a:pt x="153" y="498"/>
                  <a:pt x="115" y="383"/>
                  <a:pt x="115" y="307"/>
                </a:cubicBezTo>
                <a:cubicBezTo>
                  <a:pt x="76" y="192"/>
                  <a:pt x="38" y="116"/>
                  <a:pt x="0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1" name="Google Shape;111;p15"/>
          <p:cNvSpPr/>
          <p:nvPr/>
        </p:nvSpPr>
        <p:spPr>
          <a:xfrm>
            <a:off x="2261175" y="983987"/>
            <a:ext cx="973076" cy="1716275"/>
          </a:xfrm>
          <a:custGeom>
            <a:avLst/>
            <a:gdLst/>
            <a:ahLst/>
            <a:cxnLst/>
            <a:rect l="l" t="t" r="r" b="b"/>
            <a:pathLst>
              <a:path w="35570" h="62737" extrusionOk="0">
                <a:moveTo>
                  <a:pt x="24975" y="0"/>
                </a:moveTo>
                <a:cubicBezTo>
                  <a:pt x="24899" y="153"/>
                  <a:pt x="24822" y="306"/>
                  <a:pt x="24784" y="421"/>
                </a:cubicBezTo>
                <a:cubicBezTo>
                  <a:pt x="25128" y="1147"/>
                  <a:pt x="25473" y="1798"/>
                  <a:pt x="26314" y="1989"/>
                </a:cubicBezTo>
                <a:cubicBezTo>
                  <a:pt x="26352" y="2027"/>
                  <a:pt x="26390" y="2142"/>
                  <a:pt x="26467" y="2218"/>
                </a:cubicBezTo>
                <a:cubicBezTo>
                  <a:pt x="26735" y="2371"/>
                  <a:pt x="27002" y="2524"/>
                  <a:pt x="27270" y="2754"/>
                </a:cubicBezTo>
                <a:cubicBezTo>
                  <a:pt x="27385" y="2907"/>
                  <a:pt x="27691" y="2754"/>
                  <a:pt x="27767" y="3098"/>
                </a:cubicBezTo>
                <a:cubicBezTo>
                  <a:pt x="27806" y="3251"/>
                  <a:pt x="28265" y="3289"/>
                  <a:pt x="28494" y="3404"/>
                </a:cubicBezTo>
                <a:cubicBezTo>
                  <a:pt x="29068" y="3748"/>
                  <a:pt x="29527" y="4322"/>
                  <a:pt x="30253" y="4398"/>
                </a:cubicBezTo>
                <a:cubicBezTo>
                  <a:pt x="30368" y="4437"/>
                  <a:pt x="30483" y="4513"/>
                  <a:pt x="30559" y="4551"/>
                </a:cubicBezTo>
                <a:cubicBezTo>
                  <a:pt x="30827" y="4704"/>
                  <a:pt x="31095" y="4895"/>
                  <a:pt x="31401" y="5048"/>
                </a:cubicBezTo>
                <a:cubicBezTo>
                  <a:pt x="31248" y="5125"/>
                  <a:pt x="31056" y="5201"/>
                  <a:pt x="30865" y="5278"/>
                </a:cubicBezTo>
                <a:cubicBezTo>
                  <a:pt x="30751" y="5163"/>
                  <a:pt x="30636" y="5048"/>
                  <a:pt x="30598" y="5010"/>
                </a:cubicBezTo>
                <a:cubicBezTo>
                  <a:pt x="30253" y="5163"/>
                  <a:pt x="29833" y="5201"/>
                  <a:pt x="29641" y="5431"/>
                </a:cubicBezTo>
                <a:cubicBezTo>
                  <a:pt x="29414" y="5744"/>
                  <a:pt x="29144" y="5845"/>
                  <a:pt x="28832" y="5845"/>
                </a:cubicBezTo>
                <a:cubicBezTo>
                  <a:pt x="28724" y="5845"/>
                  <a:pt x="28612" y="5833"/>
                  <a:pt x="28494" y="5813"/>
                </a:cubicBezTo>
                <a:cubicBezTo>
                  <a:pt x="28439" y="5803"/>
                  <a:pt x="28386" y="5799"/>
                  <a:pt x="28336" y="5799"/>
                </a:cubicBezTo>
                <a:cubicBezTo>
                  <a:pt x="28004" y="5799"/>
                  <a:pt x="27780" y="6007"/>
                  <a:pt x="27614" y="6272"/>
                </a:cubicBezTo>
                <a:cubicBezTo>
                  <a:pt x="27382" y="6086"/>
                  <a:pt x="27200" y="5988"/>
                  <a:pt x="27040" y="5988"/>
                </a:cubicBezTo>
                <a:cubicBezTo>
                  <a:pt x="26805" y="5988"/>
                  <a:pt x="26618" y="6200"/>
                  <a:pt x="26390" y="6655"/>
                </a:cubicBezTo>
                <a:cubicBezTo>
                  <a:pt x="26097" y="6476"/>
                  <a:pt x="25936" y="6373"/>
                  <a:pt x="25818" y="6373"/>
                </a:cubicBezTo>
                <a:cubicBezTo>
                  <a:pt x="25658" y="6373"/>
                  <a:pt x="25577" y="6560"/>
                  <a:pt x="25358" y="6999"/>
                </a:cubicBezTo>
                <a:cubicBezTo>
                  <a:pt x="25320" y="7076"/>
                  <a:pt x="25243" y="7114"/>
                  <a:pt x="25167" y="7229"/>
                </a:cubicBezTo>
                <a:cubicBezTo>
                  <a:pt x="25052" y="7114"/>
                  <a:pt x="24937" y="6999"/>
                  <a:pt x="24861" y="6923"/>
                </a:cubicBezTo>
                <a:cubicBezTo>
                  <a:pt x="24211" y="6923"/>
                  <a:pt x="23837" y="7564"/>
                  <a:pt x="23246" y="7564"/>
                </a:cubicBezTo>
                <a:cubicBezTo>
                  <a:pt x="23176" y="7564"/>
                  <a:pt x="23102" y="7555"/>
                  <a:pt x="23025" y="7534"/>
                </a:cubicBezTo>
                <a:cubicBezTo>
                  <a:pt x="22948" y="7726"/>
                  <a:pt x="22910" y="7840"/>
                  <a:pt x="22834" y="7993"/>
                </a:cubicBezTo>
                <a:cubicBezTo>
                  <a:pt x="22693" y="7953"/>
                  <a:pt x="22560" y="7934"/>
                  <a:pt x="22433" y="7934"/>
                </a:cubicBezTo>
                <a:cubicBezTo>
                  <a:pt x="22077" y="7934"/>
                  <a:pt x="21767" y="8084"/>
                  <a:pt x="21457" y="8338"/>
                </a:cubicBezTo>
                <a:cubicBezTo>
                  <a:pt x="21266" y="8491"/>
                  <a:pt x="21074" y="8758"/>
                  <a:pt x="20692" y="8758"/>
                </a:cubicBezTo>
                <a:cubicBezTo>
                  <a:pt x="20309" y="8797"/>
                  <a:pt x="19927" y="9064"/>
                  <a:pt x="19506" y="9256"/>
                </a:cubicBezTo>
                <a:cubicBezTo>
                  <a:pt x="19659" y="9409"/>
                  <a:pt x="19774" y="9485"/>
                  <a:pt x="19965" y="9676"/>
                </a:cubicBezTo>
                <a:cubicBezTo>
                  <a:pt x="19521" y="9779"/>
                  <a:pt x="19169" y="9912"/>
                  <a:pt x="18853" y="9912"/>
                </a:cubicBezTo>
                <a:cubicBezTo>
                  <a:pt x="18815" y="9912"/>
                  <a:pt x="18778" y="9910"/>
                  <a:pt x="18741" y="9906"/>
                </a:cubicBezTo>
                <a:cubicBezTo>
                  <a:pt x="18258" y="9906"/>
                  <a:pt x="18281" y="10519"/>
                  <a:pt x="17897" y="10519"/>
                </a:cubicBezTo>
                <a:cubicBezTo>
                  <a:pt x="17885" y="10519"/>
                  <a:pt x="17874" y="10519"/>
                  <a:pt x="17862" y="10518"/>
                </a:cubicBezTo>
                <a:cubicBezTo>
                  <a:pt x="17747" y="10518"/>
                  <a:pt x="17632" y="10594"/>
                  <a:pt x="17517" y="10671"/>
                </a:cubicBezTo>
                <a:cubicBezTo>
                  <a:pt x="17173" y="10938"/>
                  <a:pt x="16676" y="11130"/>
                  <a:pt x="16561" y="11474"/>
                </a:cubicBezTo>
                <a:cubicBezTo>
                  <a:pt x="16408" y="11818"/>
                  <a:pt x="16179" y="11971"/>
                  <a:pt x="15949" y="12124"/>
                </a:cubicBezTo>
                <a:cubicBezTo>
                  <a:pt x="15567" y="12392"/>
                  <a:pt x="15184" y="12659"/>
                  <a:pt x="14917" y="13042"/>
                </a:cubicBezTo>
                <a:cubicBezTo>
                  <a:pt x="14305" y="13769"/>
                  <a:pt x="13425" y="14228"/>
                  <a:pt x="12966" y="15031"/>
                </a:cubicBezTo>
                <a:cubicBezTo>
                  <a:pt x="12392" y="15222"/>
                  <a:pt x="12239" y="15796"/>
                  <a:pt x="11857" y="16178"/>
                </a:cubicBezTo>
                <a:cubicBezTo>
                  <a:pt x="11513" y="16484"/>
                  <a:pt x="11245" y="16867"/>
                  <a:pt x="10977" y="17211"/>
                </a:cubicBezTo>
                <a:cubicBezTo>
                  <a:pt x="10710" y="17593"/>
                  <a:pt x="10480" y="17976"/>
                  <a:pt x="10212" y="18320"/>
                </a:cubicBezTo>
                <a:cubicBezTo>
                  <a:pt x="9983" y="18664"/>
                  <a:pt x="9639" y="18932"/>
                  <a:pt x="9562" y="19391"/>
                </a:cubicBezTo>
                <a:cubicBezTo>
                  <a:pt x="9486" y="19620"/>
                  <a:pt x="9103" y="19773"/>
                  <a:pt x="8950" y="20003"/>
                </a:cubicBezTo>
                <a:cubicBezTo>
                  <a:pt x="8759" y="20232"/>
                  <a:pt x="8797" y="20615"/>
                  <a:pt x="8606" y="20844"/>
                </a:cubicBezTo>
                <a:cubicBezTo>
                  <a:pt x="8262" y="21265"/>
                  <a:pt x="7956" y="21686"/>
                  <a:pt x="7726" y="22183"/>
                </a:cubicBezTo>
                <a:cubicBezTo>
                  <a:pt x="7535" y="22642"/>
                  <a:pt x="7191" y="23024"/>
                  <a:pt x="7038" y="23483"/>
                </a:cubicBezTo>
                <a:cubicBezTo>
                  <a:pt x="6809" y="24171"/>
                  <a:pt x="6197" y="24707"/>
                  <a:pt x="6158" y="25472"/>
                </a:cubicBezTo>
                <a:cubicBezTo>
                  <a:pt x="5470" y="26313"/>
                  <a:pt x="5317" y="27422"/>
                  <a:pt x="4781" y="28340"/>
                </a:cubicBezTo>
                <a:cubicBezTo>
                  <a:pt x="5011" y="28761"/>
                  <a:pt x="4514" y="28876"/>
                  <a:pt x="4399" y="29182"/>
                </a:cubicBezTo>
                <a:cubicBezTo>
                  <a:pt x="4208" y="29755"/>
                  <a:pt x="4093" y="30367"/>
                  <a:pt x="3787" y="30903"/>
                </a:cubicBezTo>
                <a:cubicBezTo>
                  <a:pt x="3519" y="31515"/>
                  <a:pt x="3366" y="32203"/>
                  <a:pt x="3137" y="32853"/>
                </a:cubicBezTo>
                <a:cubicBezTo>
                  <a:pt x="2946" y="33351"/>
                  <a:pt x="2831" y="33848"/>
                  <a:pt x="2678" y="34345"/>
                </a:cubicBezTo>
                <a:cubicBezTo>
                  <a:pt x="2563" y="34842"/>
                  <a:pt x="2563" y="35378"/>
                  <a:pt x="2334" y="35798"/>
                </a:cubicBezTo>
                <a:cubicBezTo>
                  <a:pt x="2066" y="36295"/>
                  <a:pt x="2257" y="36869"/>
                  <a:pt x="1837" y="37290"/>
                </a:cubicBezTo>
                <a:cubicBezTo>
                  <a:pt x="1798" y="38170"/>
                  <a:pt x="1607" y="39087"/>
                  <a:pt x="1416" y="39967"/>
                </a:cubicBezTo>
                <a:cubicBezTo>
                  <a:pt x="1301" y="40579"/>
                  <a:pt x="880" y="41191"/>
                  <a:pt x="1186" y="41879"/>
                </a:cubicBezTo>
                <a:cubicBezTo>
                  <a:pt x="880" y="42262"/>
                  <a:pt x="995" y="42683"/>
                  <a:pt x="995" y="43142"/>
                </a:cubicBezTo>
                <a:cubicBezTo>
                  <a:pt x="995" y="43753"/>
                  <a:pt x="804" y="44327"/>
                  <a:pt x="727" y="44939"/>
                </a:cubicBezTo>
                <a:cubicBezTo>
                  <a:pt x="689" y="45589"/>
                  <a:pt x="460" y="46201"/>
                  <a:pt x="613" y="46813"/>
                </a:cubicBezTo>
                <a:cubicBezTo>
                  <a:pt x="613" y="46851"/>
                  <a:pt x="613" y="46890"/>
                  <a:pt x="574" y="46928"/>
                </a:cubicBezTo>
                <a:cubicBezTo>
                  <a:pt x="498" y="48037"/>
                  <a:pt x="345" y="49184"/>
                  <a:pt x="345" y="50332"/>
                </a:cubicBezTo>
                <a:cubicBezTo>
                  <a:pt x="345" y="51441"/>
                  <a:pt x="39" y="52550"/>
                  <a:pt x="268" y="53659"/>
                </a:cubicBezTo>
                <a:cubicBezTo>
                  <a:pt x="345" y="54080"/>
                  <a:pt x="383" y="54577"/>
                  <a:pt x="268" y="54998"/>
                </a:cubicBezTo>
                <a:cubicBezTo>
                  <a:pt x="192" y="55457"/>
                  <a:pt x="1" y="55877"/>
                  <a:pt x="307" y="56336"/>
                </a:cubicBezTo>
                <a:cubicBezTo>
                  <a:pt x="115" y="56910"/>
                  <a:pt x="268" y="57522"/>
                  <a:pt x="345" y="58096"/>
                </a:cubicBezTo>
                <a:cubicBezTo>
                  <a:pt x="383" y="58669"/>
                  <a:pt x="77" y="59281"/>
                  <a:pt x="460" y="59817"/>
                </a:cubicBezTo>
                <a:cubicBezTo>
                  <a:pt x="498" y="59855"/>
                  <a:pt x="383" y="59970"/>
                  <a:pt x="345" y="60046"/>
                </a:cubicBezTo>
                <a:cubicBezTo>
                  <a:pt x="345" y="60123"/>
                  <a:pt x="307" y="60276"/>
                  <a:pt x="345" y="60314"/>
                </a:cubicBezTo>
                <a:cubicBezTo>
                  <a:pt x="574" y="60467"/>
                  <a:pt x="460" y="60696"/>
                  <a:pt x="460" y="60888"/>
                </a:cubicBezTo>
                <a:cubicBezTo>
                  <a:pt x="421" y="61270"/>
                  <a:pt x="383" y="61653"/>
                  <a:pt x="421" y="62035"/>
                </a:cubicBezTo>
                <a:cubicBezTo>
                  <a:pt x="421" y="62303"/>
                  <a:pt x="574" y="62532"/>
                  <a:pt x="880" y="62647"/>
                </a:cubicBezTo>
                <a:cubicBezTo>
                  <a:pt x="1031" y="62702"/>
                  <a:pt x="1142" y="62737"/>
                  <a:pt x="1226" y="62737"/>
                </a:cubicBezTo>
                <a:cubicBezTo>
                  <a:pt x="1378" y="62737"/>
                  <a:pt x="1443" y="62623"/>
                  <a:pt x="1492" y="62303"/>
                </a:cubicBezTo>
                <a:cubicBezTo>
                  <a:pt x="1607" y="61806"/>
                  <a:pt x="1837" y="61232"/>
                  <a:pt x="1684" y="60811"/>
                </a:cubicBezTo>
                <a:cubicBezTo>
                  <a:pt x="1454" y="60276"/>
                  <a:pt x="1722" y="59779"/>
                  <a:pt x="1607" y="59281"/>
                </a:cubicBezTo>
                <a:cubicBezTo>
                  <a:pt x="1454" y="58593"/>
                  <a:pt x="1454" y="57866"/>
                  <a:pt x="1645" y="57140"/>
                </a:cubicBezTo>
                <a:cubicBezTo>
                  <a:pt x="1684" y="56948"/>
                  <a:pt x="1760" y="56834"/>
                  <a:pt x="1607" y="56681"/>
                </a:cubicBezTo>
                <a:cubicBezTo>
                  <a:pt x="1569" y="56566"/>
                  <a:pt x="1645" y="56413"/>
                  <a:pt x="1645" y="56260"/>
                </a:cubicBezTo>
                <a:cubicBezTo>
                  <a:pt x="1645" y="56107"/>
                  <a:pt x="1645" y="55916"/>
                  <a:pt x="1607" y="55763"/>
                </a:cubicBezTo>
                <a:cubicBezTo>
                  <a:pt x="1607" y="55610"/>
                  <a:pt x="1569" y="55457"/>
                  <a:pt x="1492" y="55342"/>
                </a:cubicBezTo>
                <a:cubicBezTo>
                  <a:pt x="1339" y="55074"/>
                  <a:pt x="1722" y="55151"/>
                  <a:pt x="1722" y="55036"/>
                </a:cubicBezTo>
                <a:cubicBezTo>
                  <a:pt x="1684" y="54921"/>
                  <a:pt x="1531" y="54807"/>
                  <a:pt x="1492" y="54692"/>
                </a:cubicBezTo>
                <a:cubicBezTo>
                  <a:pt x="1454" y="54654"/>
                  <a:pt x="1531" y="54577"/>
                  <a:pt x="1531" y="54501"/>
                </a:cubicBezTo>
                <a:cubicBezTo>
                  <a:pt x="1684" y="54156"/>
                  <a:pt x="1607" y="53850"/>
                  <a:pt x="1607" y="53468"/>
                </a:cubicBezTo>
                <a:cubicBezTo>
                  <a:pt x="1569" y="53047"/>
                  <a:pt x="1301" y="52512"/>
                  <a:pt x="1760" y="52168"/>
                </a:cubicBezTo>
                <a:cubicBezTo>
                  <a:pt x="1722" y="51747"/>
                  <a:pt x="1301" y="51479"/>
                  <a:pt x="1645" y="51097"/>
                </a:cubicBezTo>
                <a:lnTo>
                  <a:pt x="1645" y="51097"/>
                </a:lnTo>
                <a:cubicBezTo>
                  <a:pt x="1684" y="51173"/>
                  <a:pt x="1760" y="51211"/>
                  <a:pt x="1875" y="51364"/>
                </a:cubicBezTo>
                <a:cubicBezTo>
                  <a:pt x="1798" y="50982"/>
                  <a:pt x="1760" y="50714"/>
                  <a:pt x="1684" y="50447"/>
                </a:cubicBezTo>
                <a:cubicBezTo>
                  <a:pt x="1684" y="50332"/>
                  <a:pt x="1607" y="50179"/>
                  <a:pt x="1645" y="50064"/>
                </a:cubicBezTo>
                <a:cubicBezTo>
                  <a:pt x="1837" y="49376"/>
                  <a:pt x="1798" y="49376"/>
                  <a:pt x="1722" y="48725"/>
                </a:cubicBezTo>
                <a:cubicBezTo>
                  <a:pt x="1684" y="48305"/>
                  <a:pt x="1531" y="47808"/>
                  <a:pt x="1951" y="47463"/>
                </a:cubicBezTo>
                <a:cubicBezTo>
                  <a:pt x="1990" y="47425"/>
                  <a:pt x="2066" y="47272"/>
                  <a:pt x="2028" y="47272"/>
                </a:cubicBezTo>
                <a:cubicBezTo>
                  <a:pt x="1722" y="46928"/>
                  <a:pt x="2181" y="46660"/>
                  <a:pt x="2104" y="46354"/>
                </a:cubicBezTo>
                <a:cubicBezTo>
                  <a:pt x="1990" y="46316"/>
                  <a:pt x="1875" y="46278"/>
                  <a:pt x="1760" y="46239"/>
                </a:cubicBezTo>
                <a:cubicBezTo>
                  <a:pt x="1798" y="45972"/>
                  <a:pt x="1798" y="45666"/>
                  <a:pt x="1951" y="45551"/>
                </a:cubicBezTo>
                <a:cubicBezTo>
                  <a:pt x="2372" y="45245"/>
                  <a:pt x="2257" y="44863"/>
                  <a:pt x="2219" y="44442"/>
                </a:cubicBezTo>
                <a:cubicBezTo>
                  <a:pt x="2181" y="43868"/>
                  <a:pt x="2257" y="43256"/>
                  <a:pt x="2334" y="42683"/>
                </a:cubicBezTo>
                <a:cubicBezTo>
                  <a:pt x="2372" y="42262"/>
                  <a:pt x="2487" y="41879"/>
                  <a:pt x="2525" y="41459"/>
                </a:cubicBezTo>
                <a:cubicBezTo>
                  <a:pt x="2563" y="41229"/>
                  <a:pt x="2448" y="40962"/>
                  <a:pt x="2563" y="40847"/>
                </a:cubicBezTo>
                <a:cubicBezTo>
                  <a:pt x="2984" y="40273"/>
                  <a:pt x="2907" y="39623"/>
                  <a:pt x="2984" y="39011"/>
                </a:cubicBezTo>
                <a:cubicBezTo>
                  <a:pt x="3022" y="38781"/>
                  <a:pt x="3022" y="38514"/>
                  <a:pt x="3252" y="38246"/>
                </a:cubicBezTo>
                <a:cubicBezTo>
                  <a:pt x="3519" y="37978"/>
                  <a:pt x="3328" y="37405"/>
                  <a:pt x="3443" y="37060"/>
                </a:cubicBezTo>
                <a:cubicBezTo>
                  <a:pt x="3596" y="36716"/>
                  <a:pt x="3405" y="36181"/>
                  <a:pt x="3864" y="35951"/>
                </a:cubicBezTo>
                <a:cubicBezTo>
                  <a:pt x="3634" y="35492"/>
                  <a:pt x="4055" y="35148"/>
                  <a:pt x="4131" y="34766"/>
                </a:cubicBezTo>
                <a:cubicBezTo>
                  <a:pt x="4284" y="34039"/>
                  <a:pt x="4514" y="33351"/>
                  <a:pt x="4705" y="32662"/>
                </a:cubicBezTo>
                <a:cubicBezTo>
                  <a:pt x="4858" y="32088"/>
                  <a:pt x="4973" y="31476"/>
                  <a:pt x="5546" y="31132"/>
                </a:cubicBezTo>
                <a:cubicBezTo>
                  <a:pt x="5393" y="31018"/>
                  <a:pt x="5317" y="30941"/>
                  <a:pt x="5202" y="30865"/>
                </a:cubicBezTo>
                <a:cubicBezTo>
                  <a:pt x="5355" y="30673"/>
                  <a:pt x="5623" y="30750"/>
                  <a:pt x="5661" y="30367"/>
                </a:cubicBezTo>
                <a:cubicBezTo>
                  <a:pt x="5699" y="29679"/>
                  <a:pt x="6235" y="29143"/>
                  <a:pt x="6311" y="28417"/>
                </a:cubicBezTo>
                <a:cubicBezTo>
                  <a:pt x="6350" y="28226"/>
                  <a:pt x="6617" y="28034"/>
                  <a:pt x="6770" y="27881"/>
                </a:cubicBezTo>
                <a:cubicBezTo>
                  <a:pt x="6732" y="27728"/>
                  <a:pt x="6617" y="27537"/>
                  <a:pt x="6656" y="27499"/>
                </a:cubicBezTo>
                <a:cubicBezTo>
                  <a:pt x="7459" y="26657"/>
                  <a:pt x="7459" y="25319"/>
                  <a:pt x="8300" y="24477"/>
                </a:cubicBezTo>
                <a:cubicBezTo>
                  <a:pt x="8377" y="24439"/>
                  <a:pt x="8300" y="24248"/>
                  <a:pt x="8338" y="24171"/>
                </a:cubicBezTo>
                <a:cubicBezTo>
                  <a:pt x="8453" y="23866"/>
                  <a:pt x="8453" y="23521"/>
                  <a:pt x="8797" y="23330"/>
                </a:cubicBezTo>
                <a:cubicBezTo>
                  <a:pt x="9180" y="23101"/>
                  <a:pt x="8950" y="22489"/>
                  <a:pt x="9409" y="22183"/>
                </a:cubicBezTo>
                <a:cubicBezTo>
                  <a:pt x="9715" y="21991"/>
                  <a:pt x="9830" y="21456"/>
                  <a:pt x="10021" y="21074"/>
                </a:cubicBezTo>
                <a:cubicBezTo>
                  <a:pt x="10059" y="20997"/>
                  <a:pt x="10059" y="20844"/>
                  <a:pt x="10098" y="20844"/>
                </a:cubicBezTo>
                <a:cubicBezTo>
                  <a:pt x="10671" y="20768"/>
                  <a:pt x="10633" y="20232"/>
                  <a:pt x="10824" y="19888"/>
                </a:cubicBezTo>
                <a:cubicBezTo>
                  <a:pt x="10939" y="19697"/>
                  <a:pt x="11016" y="19467"/>
                  <a:pt x="11322" y="19429"/>
                </a:cubicBezTo>
                <a:cubicBezTo>
                  <a:pt x="11475" y="19391"/>
                  <a:pt x="11704" y="19047"/>
                  <a:pt x="11666" y="18970"/>
                </a:cubicBezTo>
                <a:cubicBezTo>
                  <a:pt x="11475" y="18588"/>
                  <a:pt x="11819" y="18511"/>
                  <a:pt x="11972" y="18320"/>
                </a:cubicBezTo>
                <a:cubicBezTo>
                  <a:pt x="12201" y="18014"/>
                  <a:pt x="12469" y="17746"/>
                  <a:pt x="12698" y="17440"/>
                </a:cubicBezTo>
                <a:cubicBezTo>
                  <a:pt x="12890" y="17249"/>
                  <a:pt x="12928" y="16943"/>
                  <a:pt x="13272" y="16905"/>
                </a:cubicBezTo>
                <a:cubicBezTo>
                  <a:pt x="13349" y="16867"/>
                  <a:pt x="13502" y="16752"/>
                  <a:pt x="13502" y="16675"/>
                </a:cubicBezTo>
                <a:cubicBezTo>
                  <a:pt x="13463" y="16293"/>
                  <a:pt x="13769" y="16255"/>
                  <a:pt x="13999" y="16216"/>
                </a:cubicBezTo>
                <a:cubicBezTo>
                  <a:pt x="14458" y="16178"/>
                  <a:pt x="13884" y="15757"/>
                  <a:pt x="14228" y="15643"/>
                </a:cubicBezTo>
                <a:cubicBezTo>
                  <a:pt x="14534" y="15528"/>
                  <a:pt x="14802" y="15298"/>
                  <a:pt x="15070" y="15107"/>
                </a:cubicBezTo>
                <a:cubicBezTo>
                  <a:pt x="15261" y="14954"/>
                  <a:pt x="15529" y="14686"/>
                  <a:pt x="15529" y="14533"/>
                </a:cubicBezTo>
                <a:cubicBezTo>
                  <a:pt x="15452" y="14113"/>
                  <a:pt x="15643" y="13960"/>
                  <a:pt x="15911" y="13807"/>
                </a:cubicBezTo>
                <a:cubicBezTo>
                  <a:pt x="16026" y="13922"/>
                  <a:pt x="16102" y="14036"/>
                  <a:pt x="16179" y="14113"/>
                </a:cubicBezTo>
                <a:cubicBezTo>
                  <a:pt x="16752" y="13616"/>
                  <a:pt x="17403" y="13195"/>
                  <a:pt x="17862" y="12659"/>
                </a:cubicBezTo>
                <a:cubicBezTo>
                  <a:pt x="18244" y="12239"/>
                  <a:pt x="18703" y="12086"/>
                  <a:pt x="19085" y="11703"/>
                </a:cubicBezTo>
                <a:cubicBezTo>
                  <a:pt x="19391" y="11359"/>
                  <a:pt x="20003" y="11206"/>
                  <a:pt x="20462" y="10938"/>
                </a:cubicBezTo>
                <a:cubicBezTo>
                  <a:pt x="20960" y="10671"/>
                  <a:pt x="21648" y="10556"/>
                  <a:pt x="21801" y="9867"/>
                </a:cubicBezTo>
                <a:cubicBezTo>
                  <a:pt x="21839" y="9829"/>
                  <a:pt x="21916" y="9791"/>
                  <a:pt x="21954" y="9791"/>
                </a:cubicBezTo>
                <a:cubicBezTo>
                  <a:pt x="23063" y="9753"/>
                  <a:pt x="23063" y="9753"/>
                  <a:pt x="23599" y="9447"/>
                </a:cubicBezTo>
                <a:cubicBezTo>
                  <a:pt x="24019" y="9217"/>
                  <a:pt x="24440" y="9064"/>
                  <a:pt x="24861" y="8911"/>
                </a:cubicBezTo>
                <a:cubicBezTo>
                  <a:pt x="25664" y="8644"/>
                  <a:pt x="26429" y="8338"/>
                  <a:pt x="27194" y="8108"/>
                </a:cubicBezTo>
                <a:cubicBezTo>
                  <a:pt x="27767" y="7917"/>
                  <a:pt x="28341" y="7687"/>
                  <a:pt x="28915" y="7649"/>
                </a:cubicBezTo>
                <a:cubicBezTo>
                  <a:pt x="29259" y="7611"/>
                  <a:pt x="29527" y="7496"/>
                  <a:pt x="29833" y="7343"/>
                </a:cubicBezTo>
                <a:cubicBezTo>
                  <a:pt x="30100" y="7229"/>
                  <a:pt x="30445" y="7229"/>
                  <a:pt x="30751" y="7190"/>
                </a:cubicBezTo>
                <a:lnTo>
                  <a:pt x="31936" y="6808"/>
                </a:lnTo>
                <a:cubicBezTo>
                  <a:pt x="32319" y="6731"/>
                  <a:pt x="32701" y="6655"/>
                  <a:pt x="33084" y="6617"/>
                </a:cubicBezTo>
                <a:cubicBezTo>
                  <a:pt x="33122" y="6693"/>
                  <a:pt x="33122" y="6731"/>
                  <a:pt x="33122" y="6731"/>
                </a:cubicBezTo>
                <a:cubicBezTo>
                  <a:pt x="32854" y="7037"/>
                  <a:pt x="32625" y="7381"/>
                  <a:pt x="32280" y="7573"/>
                </a:cubicBezTo>
                <a:cubicBezTo>
                  <a:pt x="31821" y="7840"/>
                  <a:pt x="31898" y="8299"/>
                  <a:pt x="31630" y="8644"/>
                </a:cubicBezTo>
                <a:cubicBezTo>
                  <a:pt x="31401" y="8988"/>
                  <a:pt x="30903" y="9141"/>
                  <a:pt x="30865" y="9638"/>
                </a:cubicBezTo>
                <a:cubicBezTo>
                  <a:pt x="30445" y="9753"/>
                  <a:pt x="30292" y="10059"/>
                  <a:pt x="30177" y="10479"/>
                </a:cubicBezTo>
                <a:cubicBezTo>
                  <a:pt x="30139" y="10671"/>
                  <a:pt x="29833" y="10785"/>
                  <a:pt x="29680" y="10938"/>
                </a:cubicBezTo>
                <a:cubicBezTo>
                  <a:pt x="29029" y="11665"/>
                  <a:pt x="28570" y="12506"/>
                  <a:pt x="27882" y="13157"/>
                </a:cubicBezTo>
                <a:cubicBezTo>
                  <a:pt x="27729" y="13310"/>
                  <a:pt x="27538" y="13539"/>
                  <a:pt x="27538" y="13654"/>
                </a:cubicBezTo>
                <a:cubicBezTo>
                  <a:pt x="27614" y="13960"/>
                  <a:pt x="27385" y="14113"/>
                  <a:pt x="27308" y="14304"/>
                </a:cubicBezTo>
                <a:cubicBezTo>
                  <a:pt x="27194" y="14533"/>
                  <a:pt x="27155" y="14801"/>
                  <a:pt x="27041" y="15031"/>
                </a:cubicBezTo>
                <a:cubicBezTo>
                  <a:pt x="27002" y="15222"/>
                  <a:pt x="26888" y="15413"/>
                  <a:pt x="26773" y="15681"/>
                </a:cubicBezTo>
                <a:cubicBezTo>
                  <a:pt x="27079" y="15643"/>
                  <a:pt x="27308" y="15643"/>
                  <a:pt x="27538" y="15566"/>
                </a:cubicBezTo>
                <a:cubicBezTo>
                  <a:pt x="27729" y="15528"/>
                  <a:pt x="27882" y="15375"/>
                  <a:pt x="28073" y="15298"/>
                </a:cubicBezTo>
                <a:cubicBezTo>
                  <a:pt x="28303" y="15184"/>
                  <a:pt x="28494" y="15145"/>
                  <a:pt x="28609" y="14839"/>
                </a:cubicBezTo>
                <a:cubicBezTo>
                  <a:pt x="28647" y="14686"/>
                  <a:pt x="29068" y="14572"/>
                  <a:pt x="29029" y="14495"/>
                </a:cubicBezTo>
                <a:cubicBezTo>
                  <a:pt x="28953" y="14075"/>
                  <a:pt x="29527" y="14189"/>
                  <a:pt x="29488" y="13960"/>
                </a:cubicBezTo>
                <a:cubicBezTo>
                  <a:pt x="29374" y="13577"/>
                  <a:pt x="29718" y="13539"/>
                  <a:pt x="29909" y="13386"/>
                </a:cubicBezTo>
                <a:cubicBezTo>
                  <a:pt x="30024" y="13271"/>
                  <a:pt x="30062" y="13080"/>
                  <a:pt x="30177" y="12927"/>
                </a:cubicBezTo>
                <a:cubicBezTo>
                  <a:pt x="30483" y="12506"/>
                  <a:pt x="30789" y="12048"/>
                  <a:pt x="31133" y="11665"/>
                </a:cubicBezTo>
                <a:cubicBezTo>
                  <a:pt x="31362" y="11359"/>
                  <a:pt x="31630" y="11091"/>
                  <a:pt x="31898" y="10824"/>
                </a:cubicBezTo>
                <a:cubicBezTo>
                  <a:pt x="32013" y="10709"/>
                  <a:pt x="32280" y="10594"/>
                  <a:pt x="32280" y="10518"/>
                </a:cubicBezTo>
                <a:cubicBezTo>
                  <a:pt x="32204" y="10326"/>
                  <a:pt x="32204" y="10135"/>
                  <a:pt x="32433" y="10135"/>
                </a:cubicBezTo>
                <a:cubicBezTo>
                  <a:pt x="32586" y="10097"/>
                  <a:pt x="32625" y="10173"/>
                  <a:pt x="32739" y="9944"/>
                </a:cubicBezTo>
                <a:cubicBezTo>
                  <a:pt x="33007" y="9409"/>
                  <a:pt x="33351" y="8911"/>
                  <a:pt x="33734" y="8491"/>
                </a:cubicBezTo>
                <a:cubicBezTo>
                  <a:pt x="34001" y="8185"/>
                  <a:pt x="34231" y="7840"/>
                  <a:pt x="34460" y="7496"/>
                </a:cubicBezTo>
                <a:cubicBezTo>
                  <a:pt x="34690" y="7152"/>
                  <a:pt x="35072" y="6884"/>
                  <a:pt x="35417" y="6578"/>
                </a:cubicBezTo>
                <a:cubicBezTo>
                  <a:pt x="35493" y="6502"/>
                  <a:pt x="35531" y="6387"/>
                  <a:pt x="35570" y="6311"/>
                </a:cubicBezTo>
                <a:cubicBezTo>
                  <a:pt x="35340" y="5852"/>
                  <a:pt x="35340" y="5316"/>
                  <a:pt x="34690" y="5278"/>
                </a:cubicBezTo>
                <a:cubicBezTo>
                  <a:pt x="34652" y="5278"/>
                  <a:pt x="34613" y="5087"/>
                  <a:pt x="34537" y="5010"/>
                </a:cubicBezTo>
                <a:cubicBezTo>
                  <a:pt x="34361" y="4864"/>
                  <a:pt x="34253" y="4628"/>
                  <a:pt x="34023" y="4628"/>
                </a:cubicBezTo>
                <a:cubicBezTo>
                  <a:pt x="33953" y="4628"/>
                  <a:pt x="33871" y="4650"/>
                  <a:pt x="33772" y="4704"/>
                </a:cubicBezTo>
                <a:cubicBezTo>
                  <a:pt x="33772" y="4704"/>
                  <a:pt x="33619" y="4666"/>
                  <a:pt x="33619" y="4628"/>
                </a:cubicBezTo>
                <a:cubicBezTo>
                  <a:pt x="33695" y="4207"/>
                  <a:pt x="33313" y="4245"/>
                  <a:pt x="33122" y="4169"/>
                </a:cubicBezTo>
                <a:cubicBezTo>
                  <a:pt x="32892" y="4054"/>
                  <a:pt x="32625" y="4054"/>
                  <a:pt x="32357" y="3978"/>
                </a:cubicBezTo>
                <a:cubicBezTo>
                  <a:pt x="32242" y="3939"/>
                  <a:pt x="32089" y="3825"/>
                  <a:pt x="32089" y="3710"/>
                </a:cubicBezTo>
                <a:cubicBezTo>
                  <a:pt x="32022" y="3339"/>
                  <a:pt x="31746" y="3206"/>
                  <a:pt x="31472" y="3206"/>
                </a:cubicBezTo>
                <a:cubicBezTo>
                  <a:pt x="31435" y="3206"/>
                  <a:pt x="31399" y="3208"/>
                  <a:pt x="31362" y="3213"/>
                </a:cubicBezTo>
                <a:cubicBezTo>
                  <a:pt x="31133" y="3213"/>
                  <a:pt x="31056" y="3136"/>
                  <a:pt x="30903" y="3021"/>
                </a:cubicBezTo>
                <a:cubicBezTo>
                  <a:pt x="30712" y="2907"/>
                  <a:pt x="30445" y="2830"/>
                  <a:pt x="30215" y="2715"/>
                </a:cubicBezTo>
                <a:cubicBezTo>
                  <a:pt x="29909" y="2562"/>
                  <a:pt x="29527" y="2410"/>
                  <a:pt x="29335" y="2180"/>
                </a:cubicBezTo>
                <a:cubicBezTo>
                  <a:pt x="29029" y="1798"/>
                  <a:pt x="28609" y="1645"/>
                  <a:pt x="28188" y="1453"/>
                </a:cubicBezTo>
                <a:cubicBezTo>
                  <a:pt x="28073" y="1415"/>
                  <a:pt x="27959" y="1377"/>
                  <a:pt x="27844" y="1339"/>
                </a:cubicBezTo>
                <a:cubicBezTo>
                  <a:pt x="27709" y="1237"/>
                  <a:pt x="27812" y="898"/>
                  <a:pt x="27523" y="898"/>
                </a:cubicBezTo>
                <a:cubicBezTo>
                  <a:pt x="27485" y="898"/>
                  <a:pt x="27439" y="904"/>
                  <a:pt x="27385" y="918"/>
                </a:cubicBezTo>
                <a:cubicBezTo>
                  <a:pt x="27270" y="918"/>
                  <a:pt x="27117" y="497"/>
                  <a:pt x="26888" y="382"/>
                </a:cubicBezTo>
                <a:cubicBezTo>
                  <a:pt x="26620" y="229"/>
                  <a:pt x="26314" y="153"/>
                  <a:pt x="26008" y="76"/>
                </a:cubicBezTo>
                <a:cubicBezTo>
                  <a:pt x="25740" y="38"/>
                  <a:pt x="25434" y="38"/>
                  <a:pt x="25167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3" name="Google Shape;113;p15"/>
          <p:cNvSpPr/>
          <p:nvPr/>
        </p:nvSpPr>
        <p:spPr>
          <a:xfrm>
            <a:off x="2614664" y="1789585"/>
            <a:ext cx="1934581" cy="1952583"/>
          </a:xfrm>
          <a:custGeom>
            <a:avLst/>
            <a:gdLst/>
            <a:ahLst/>
            <a:cxnLst/>
            <a:rect l="l" t="t" r="r" b="b"/>
            <a:pathLst>
              <a:path w="70717" h="71375" extrusionOk="0">
                <a:moveTo>
                  <a:pt x="36190" y="1169"/>
                </a:moveTo>
                <a:cubicBezTo>
                  <a:pt x="36213" y="1169"/>
                  <a:pt x="36235" y="1174"/>
                  <a:pt x="36257" y="1185"/>
                </a:cubicBezTo>
                <a:cubicBezTo>
                  <a:pt x="36481" y="1217"/>
                  <a:pt x="36758" y="1356"/>
                  <a:pt x="36955" y="1356"/>
                </a:cubicBezTo>
                <a:cubicBezTo>
                  <a:pt x="36994" y="1356"/>
                  <a:pt x="37029" y="1351"/>
                  <a:pt x="37061" y="1338"/>
                </a:cubicBezTo>
                <a:cubicBezTo>
                  <a:pt x="37172" y="1276"/>
                  <a:pt x="37267" y="1254"/>
                  <a:pt x="37354" y="1254"/>
                </a:cubicBezTo>
                <a:cubicBezTo>
                  <a:pt x="37536" y="1254"/>
                  <a:pt x="37682" y="1350"/>
                  <a:pt x="37864" y="1376"/>
                </a:cubicBezTo>
                <a:cubicBezTo>
                  <a:pt x="38399" y="1491"/>
                  <a:pt x="38973" y="1529"/>
                  <a:pt x="39508" y="1606"/>
                </a:cubicBezTo>
                <a:cubicBezTo>
                  <a:pt x="39542" y="1612"/>
                  <a:pt x="39576" y="1615"/>
                  <a:pt x="39611" y="1615"/>
                </a:cubicBezTo>
                <a:cubicBezTo>
                  <a:pt x="39801" y="1615"/>
                  <a:pt x="39995" y="1528"/>
                  <a:pt x="40173" y="1528"/>
                </a:cubicBezTo>
                <a:cubicBezTo>
                  <a:pt x="40326" y="1528"/>
                  <a:pt x="40466" y="1593"/>
                  <a:pt x="40579" y="1835"/>
                </a:cubicBezTo>
                <a:cubicBezTo>
                  <a:pt x="40598" y="1873"/>
                  <a:pt x="40675" y="1883"/>
                  <a:pt x="40761" y="1883"/>
                </a:cubicBezTo>
                <a:cubicBezTo>
                  <a:pt x="40847" y="1883"/>
                  <a:pt x="40942" y="1873"/>
                  <a:pt x="41000" y="1873"/>
                </a:cubicBezTo>
                <a:cubicBezTo>
                  <a:pt x="41102" y="1873"/>
                  <a:pt x="41221" y="1856"/>
                  <a:pt x="41323" y="1856"/>
                </a:cubicBezTo>
                <a:cubicBezTo>
                  <a:pt x="41374" y="1856"/>
                  <a:pt x="41421" y="1861"/>
                  <a:pt x="41459" y="1873"/>
                </a:cubicBezTo>
                <a:cubicBezTo>
                  <a:pt x="41672" y="1980"/>
                  <a:pt x="41885" y="2123"/>
                  <a:pt x="42124" y="2123"/>
                </a:cubicBezTo>
                <a:cubicBezTo>
                  <a:pt x="42228" y="2123"/>
                  <a:pt x="42337" y="2096"/>
                  <a:pt x="42453" y="2026"/>
                </a:cubicBezTo>
                <a:cubicBezTo>
                  <a:pt x="42874" y="2294"/>
                  <a:pt x="43371" y="2218"/>
                  <a:pt x="43830" y="2332"/>
                </a:cubicBezTo>
                <a:cubicBezTo>
                  <a:pt x="44251" y="2409"/>
                  <a:pt x="44671" y="2524"/>
                  <a:pt x="45092" y="2600"/>
                </a:cubicBezTo>
                <a:cubicBezTo>
                  <a:pt x="45398" y="2677"/>
                  <a:pt x="45704" y="2753"/>
                  <a:pt x="46010" y="2791"/>
                </a:cubicBezTo>
                <a:cubicBezTo>
                  <a:pt x="46048" y="2810"/>
                  <a:pt x="46096" y="2820"/>
                  <a:pt x="46144" y="2820"/>
                </a:cubicBezTo>
                <a:cubicBezTo>
                  <a:pt x="46192" y="2820"/>
                  <a:pt x="46240" y="2810"/>
                  <a:pt x="46278" y="2791"/>
                </a:cubicBezTo>
                <a:cubicBezTo>
                  <a:pt x="46420" y="2756"/>
                  <a:pt x="46545" y="2729"/>
                  <a:pt x="46673" y="2729"/>
                </a:cubicBezTo>
                <a:cubicBezTo>
                  <a:pt x="46821" y="2729"/>
                  <a:pt x="46973" y="2765"/>
                  <a:pt x="47157" y="2868"/>
                </a:cubicBezTo>
                <a:cubicBezTo>
                  <a:pt x="47349" y="2983"/>
                  <a:pt x="47731" y="2830"/>
                  <a:pt x="47655" y="3289"/>
                </a:cubicBezTo>
                <a:cubicBezTo>
                  <a:pt x="47898" y="3358"/>
                  <a:pt x="48174" y="3523"/>
                  <a:pt x="48423" y="3523"/>
                </a:cubicBezTo>
                <a:cubicBezTo>
                  <a:pt x="48448" y="3523"/>
                  <a:pt x="48472" y="3521"/>
                  <a:pt x="48496" y="3518"/>
                </a:cubicBezTo>
                <a:cubicBezTo>
                  <a:pt x="48553" y="3510"/>
                  <a:pt x="48609" y="3506"/>
                  <a:pt x="48664" y="3506"/>
                </a:cubicBezTo>
                <a:cubicBezTo>
                  <a:pt x="49121" y="3506"/>
                  <a:pt x="49497" y="3772"/>
                  <a:pt x="49873" y="3977"/>
                </a:cubicBezTo>
                <a:cubicBezTo>
                  <a:pt x="50102" y="4092"/>
                  <a:pt x="50408" y="4245"/>
                  <a:pt x="50600" y="4512"/>
                </a:cubicBezTo>
                <a:cubicBezTo>
                  <a:pt x="50829" y="4895"/>
                  <a:pt x="51288" y="4895"/>
                  <a:pt x="51632" y="5201"/>
                </a:cubicBezTo>
                <a:cubicBezTo>
                  <a:pt x="52321" y="5775"/>
                  <a:pt x="53277" y="6004"/>
                  <a:pt x="53927" y="6731"/>
                </a:cubicBezTo>
                <a:cubicBezTo>
                  <a:pt x="53960" y="6726"/>
                  <a:pt x="53991" y="6724"/>
                  <a:pt x="54021" y="6724"/>
                </a:cubicBezTo>
                <a:cubicBezTo>
                  <a:pt x="54473" y="6724"/>
                  <a:pt x="54560" y="7240"/>
                  <a:pt x="54883" y="7419"/>
                </a:cubicBezTo>
                <a:cubicBezTo>
                  <a:pt x="55266" y="7649"/>
                  <a:pt x="55648" y="7840"/>
                  <a:pt x="55954" y="8146"/>
                </a:cubicBezTo>
                <a:cubicBezTo>
                  <a:pt x="56642" y="8796"/>
                  <a:pt x="57446" y="9217"/>
                  <a:pt x="58172" y="9790"/>
                </a:cubicBezTo>
                <a:cubicBezTo>
                  <a:pt x="58593" y="10135"/>
                  <a:pt x="58899" y="10594"/>
                  <a:pt x="59320" y="10976"/>
                </a:cubicBezTo>
                <a:cubicBezTo>
                  <a:pt x="59626" y="11244"/>
                  <a:pt x="59855" y="11550"/>
                  <a:pt x="60123" y="11856"/>
                </a:cubicBezTo>
                <a:cubicBezTo>
                  <a:pt x="60314" y="12047"/>
                  <a:pt x="60544" y="12200"/>
                  <a:pt x="60620" y="12429"/>
                </a:cubicBezTo>
                <a:cubicBezTo>
                  <a:pt x="60735" y="12850"/>
                  <a:pt x="61308" y="12927"/>
                  <a:pt x="61347" y="13385"/>
                </a:cubicBezTo>
                <a:cubicBezTo>
                  <a:pt x="61385" y="13462"/>
                  <a:pt x="61461" y="13577"/>
                  <a:pt x="61538" y="13615"/>
                </a:cubicBezTo>
                <a:cubicBezTo>
                  <a:pt x="61959" y="13615"/>
                  <a:pt x="62035" y="13997"/>
                  <a:pt x="62265" y="14227"/>
                </a:cubicBezTo>
                <a:cubicBezTo>
                  <a:pt x="62685" y="14648"/>
                  <a:pt x="63068" y="15107"/>
                  <a:pt x="63488" y="15566"/>
                </a:cubicBezTo>
                <a:cubicBezTo>
                  <a:pt x="63565" y="15680"/>
                  <a:pt x="63641" y="15795"/>
                  <a:pt x="63718" y="15948"/>
                </a:cubicBezTo>
                <a:cubicBezTo>
                  <a:pt x="63794" y="16216"/>
                  <a:pt x="63794" y="16522"/>
                  <a:pt x="64177" y="16636"/>
                </a:cubicBezTo>
                <a:cubicBezTo>
                  <a:pt x="64253" y="16675"/>
                  <a:pt x="64215" y="17019"/>
                  <a:pt x="64292" y="17095"/>
                </a:cubicBezTo>
                <a:cubicBezTo>
                  <a:pt x="64904" y="17554"/>
                  <a:pt x="64980" y="18434"/>
                  <a:pt x="65630" y="18893"/>
                </a:cubicBezTo>
                <a:cubicBezTo>
                  <a:pt x="65707" y="19314"/>
                  <a:pt x="66280" y="19505"/>
                  <a:pt x="66166" y="20040"/>
                </a:cubicBezTo>
                <a:cubicBezTo>
                  <a:pt x="66166" y="20117"/>
                  <a:pt x="66280" y="20232"/>
                  <a:pt x="66319" y="20308"/>
                </a:cubicBezTo>
                <a:cubicBezTo>
                  <a:pt x="66548" y="20767"/>
                  <a:pt x="66931" y="21188"/>
                  <a:pt x="66969" y="21685"/>
                </a:cubicBezTo>
                <a:cubicBezTo>
                  <a:pt x="67007" y="22106"/>
                  <a:pt x="67275" y="22412"/>
                  <a:pt x="67313" y="22794"/>
                </a:cubicBezTo>
                <a:cubicBezTo>
                  <a:pt x="67390" y="23253"/>
                  <a:pt x="67543" y="23674"/>
                  <a:pt x="67581" y="24094"/>
                </a:cubicBezTo>
                <a:cubicBezTo>
                  <a:pt x="67581" y="24171"/>
                  <a:pt x="67619" y="24209"/>
                  <a:pt x="67619" y="24247"/>
                </a:cubicBezTo>
                <a:cubicBezTo>
                  <a:pt x="68193" y="24859"/>
                  <a:pt x="67963" y="25777"/>
                  <a:pt x="68460" y="26389"/>
                </a:cubicBezTo>
                <a:cubicBezTo>
                  <a:pt x="68537" y="26466"/>
                  <a:pt x="68537" y="26619"/>
                  <a:pt x="68499" y="26695"/>
                </a:cubicBezTo>
                <a:cubicBezTo>
                  <a:pt x="68346" y="27001"/>
                  <a:pt x="68460" y="27192"/>
                  <a:pt x="68690" y="27345"/>
                </a:cubicBezTo>
                <a:cubicBezTo>
                  <a:pt x="68690" y="27384"/>
                  <a:pt x="68690" y="27384"/>
                  <a:pt x="68690" y="27422"/>
                </a:cubicBezTo>
                <a:cubicBezTo>
                  <a:pt x="68766" y="27690"/>
                  <a:pt x="68805" y="27995"/>
                  <a:pt x="68881" y="28225"/>
                </a:cubicBezTo>
                <a:cubicBezTo>
                  <a:pt x="68996" y="28493"/>
                  <a:pt x="69187" y="28722"/>
                  <a:pt x="69264" y="28952"/>
                </a:cubicBezTo>
                <a:cubicBezTo>
                  <a:pt x="69417" y="29296"/>
                  <a:pt x="69646" y="29640"/>
                  <a:pt x="69531" y="29908"/>
                </a:cubicBezTo>
                <a:cubicBezTo>
                  <a:pt x="69417" y="30290"/>
                  <a:pt x="69570" y="30558"/>
                  <a:pt x="69684" y="30864"/>
                </a:cubicBezTo>
                <a:cubicBezTo>
                  <a:pt x="69761" y="31017"/>
                  <a:pt x="69417" y="31246"/>
                  <a:pt x="69799" y="31399"/>
                </a:cubicBezTo>
                <a:cubicBezTo>
                  <a:pt x="69837" y="31438"/>
                  <a:pt x="69761" y="31820"/>
                  <a:pt x="69723" y="32050"/>
                </a:cubicBezTo>
                <a:cubicBezTo>
                  <a:pt x="69684" y="32203"/>
                  <a:pt x="69340" y="32394"/>
                  <a:pt x="69761" y="32509"/>
                </a:cubicBezTo>
                <a:cubicBezTo>
                  <a:pt x="69761" y="32547"/>
                  <a:pt x="69799" y="32585"/>
                  <a:pt x="69799" y="32585"/>
                </a:cubicBezTo>
                <a:cubicBezTo>
                  <a:pt x="69417" y="32814"/>
                  <a:pt x="69684" y="33197"/>
                  <a:pt x="69608" y="33465"/>
                </a:cubicBezTo>
                <a:cubicBezTo>
                  <a:pt x="69493" y="33771"/>
                  <a:pt x="69493" y="34000"/>
                  <a:pt x="69684" y="34230"/>
                </a:cubicBezTo>
                <a:cubicBezTo>
                  <a:pt x="69723" y="34306"/>
                  <a:pt x="69723" y="34421"/>
                  <a:pt x="69723" y="34536"/>
                </a:cubicBezTo>
                <a:cubicBezTo>
                  <a:pt x="69608" y="34842"/>
                  <a:pt x="69455" y="35147"/>
                  <a:pt x="69608" y="35492"/>
                </a:cubicBezTo>
                <a:cubicBezTo>
                  <a:pt x="69723" y="35798"/>
                  <a:pt x="69340" y="36027"/>
                  <a:pt x="69531" y="36333"/>
                </a:cubicBezTo>
                <a:cubicBezTo>
                  <a:pt x="69646" y="36524"/>
                  <a:pt x="69302" y="36677"/>
                  <a:pt x="69378" y="36983"/>
                </a:cubicBezTo>
                <a:cubicBezTo>
                  <a:pt x="69455" y="37404"/>
                  <a:pt x="69264" y="37863"/>
                  <a:pt x="69264" y="38284"/>
                </a:cubicBezTo>
                <a:cubicBezTo>
                  <a:pt x="69264" y="38513"/>
                  <a:pt x="69302" y="38666"/>
                  <a:pt x="69111" y="38857"/>
                </a:cubicBezTo>
                <a:cubicBezTo>
                  <a:pt x="69072" y="38896"/>
                  <a:pt x="69072" y="39049"/>
                  <a:pt x="69111" y="39087"/>
                </a:cubicBezTo>
                <a:cubicBezTo>
                  <a:pt x="69302" y="39316"/>
                  <a:pt x="69340" y="39469"/>
                  <a:pt x="69072" y="39661"/>
                </a:cubicBezTo>
                <a:cubicBezTo>
                  <a:pt x="68996" y="39699"/>
                  <a:pt x="68958" y="39890"/>
                  <a:pt x="68996" y="40005"/>
                </a:cubicBezTo>
                <a:cubicBezTo>
                  <a:pt x="69149" y="40349"/>
                  <a:pt x="68728" y="40693"/>
                  <a:pt x="69034" y="41037"/>
                </a:cubicBezTo>
                <a:cubicBezTo>
                  <a:pt x="69034" y="41076"/>
                  <a:pt x="68996" y="41190"/>
                  <a:pt x="68958" y="41229"/>
                </a:cubicBezTo>
                <a:cubicBezTo>
                  <a:pt x="68575" y="41649"/>
                  <a:pt x="68690" y="42185"/>
                  <a:pt x="68575" y="42644"/>
                </a:cubicBezTo>
                <a:cubicBezTo>
                  <a:pt x="68422" y="43217"/>
                  <a:pt x="68307" y="43791"/>
                  <a:pt x="68193" y="44403"/>
                </a:cubicBezTo>
                <a:cubicBezTo>
                  <a:pt x="68078" y="44900"/>
                  <a:pt x="67849" y="45397"/>
                  <a:pt x="67696" y="45895"/>
                </a:cubicBezTo>
                <a:cubicBezTo>
                  <a:pt x="67657" y="46009"/>
                  <a:pt x="67619" y="46162"/>
                  <a:pt x="67696" y="46277"/>
                </a:cubicBezTo>
                <a:cubicBezTo>
                  <a:pt x="67772" y="46507"/>
                  <a:pt x="67657" y="46698"/>
                  <a:pt x="67504" y="46889"/>
                </a:cubicBezTo>
                <a:cubicBezTo>
                  <a:pt x="67390" y="47042"/>
                  <a:pt x="67198" y="47310"/>
                  <a:pt x="67275" y="47463"/>
                </a:cubicBezTo>
                <a:cubicBezTo>
                  <a:pt x="67390" y="47845"/>
                  <a:pt x="67160" y="48075"/>
                  <a:pt x="67007" y="48342"/>
                </a:cubicBezTo>
                <a:cubicBezTo>
                  <a:pt x="66816" y="48725"/>
                  <a:pt x="66663" y="49146"/>
                  <a:pt x="66510" y="49566"/>
                </a:cubicBezTo>
                <a:cubicBezTo>
                  <a:pt x="66280" y="50140"/>
                  <a:pt x="66089" y="50752"/>
                  <a:pt x="65592" y="51211"/>
                </a:cubicBezTo>
                <a:cubicBezTo>
                  <a:pt x="65477" y="51287"/>
                  <a:pt x="65439" y="51440"/>
                  <a:pt x="65363" y="51593"/>
                </a:cubicBezTo>
                <a:cubicBezTo>
                  <a:pt x="65286" y="51785"/>
                  <a:pt x="65248" y="52014"/>
                  <a:pt x="65095" y="52167"/>
                </a:cubicBezTo>
                <a:cubicBezTo>
                  <a:pt x="64904" y="52396"/>
                  <a:pt x="64674" y="52626"/>
                  <a:pt x="64674" y="52970"/>
                </a:cubicBezTo>
                <a:cubicBezTo>
                  <a:pt x="64674" y="53047"/>
                  <a:pt x="64559" y="53161"/>
                  <a:pt x="64483" y="53238"/>
                </a:cubicBezTo>
                <a:cubicBezTo>
                  <a:pt x="64139" y="53735"/>
                  <a:pt x="63794" y="54232"/>
                  <a:pt x="63603" y="54806"/>
                </a:cubicBezTo>
                <a:cubicBezTo>
                  <a:pt x="63527" y="54997"/>
                  <a:pt x="63374" y="55227"/>
                  <a:pt x="63221" y="55380"/>
                </a:cubicBezTo>
                <a:cubicBezTo>
                  <a:pt x="62838" y="55762"/>
                  <a:pt x="62571" y="56183"/>
                  <a:pt x="62303" y="56680"/>
                </a:cubicBezTo>
                <a:cubicBezTo>
                  <a:pt x="62150" y="56948"/>
                  <a:pt x="61882" y="57139"/>
                  <a:pt x="61691" y="57407"/>
                </a:cubicBezTo>
                <a:cubicBezTo>
                  <a:pt x="61385" y="57751"/>
                  <a:pt x="61079" y="58133"/>
                  <a:pt x="60773" y="58478"/>
                </a:cubicBezTo>
                <a:cubicBezTo>
                  <a:pt x="60238" y="59166"/>
                  <a:pt x="59817" y="59931"/>
                  <a:pt x="59052" y="60390"/>
                </a:cubicBezTo>
                <a:cubicBezTo>
                  <a:pt x="58708" y="61231"/>
                  <a:pt x="57752" y="61422"/>
                  <a:pt x="57293" y="62149"/>
                </a:cubicBezTo>
                <a:cubicBezTo>
                  <a:pt x="57293" y="62187"/>
                  <a:pt x="57254" y="62226"/>
                  <a:pt x="57216" y="62264"/>
                </a:cubicBezTo>
                <a:cubicBezTo>
                  <a:pt x="56948" y="62493"/>
                  <a:pt x="56566" y="62532"/>
                  <a:pt x="56375" y="62914"/>
                </a:cubicBezTo>
                <a:cubicBezTo>
                  <a:pt x="56222" y="63182"/>
                  <a:pt x="55839" y="63297"/>
                  <a:pt x="55572" y="63526"/>
                </a:cubicBezTo>
                <a:cubicBezTo>
                  <a:pt x="55189" y="63794"/>
                  <a:pt x="54730" y="63908"/>
                  <a:pt x="54386" y="64176"/>
                </a:cubicBezTo>
                <a:cubicBezTo>
                  <a:pt x="54003" y="64406"/>
                  <a:pt x="53659" y="64712"/>
                  <a:pt x="53315" y="64979"/>
                </a:cubicBezTo>
                <a:cubicBezTo>
                  <a:pt x="53124" y="65094"/>
                  <a:pt x="52933" y="65209"/>
                  <a:pt x="52741" y="65324"/>
                </a:cubicBezTo>
                <a:cubicBezTo>
                  <a:pt x="52129" y="65706"/>
                  <a:pt x="51517" y="66089"/>
                  <a:pt x="50906" y="66433"/>
                </a:cubicBezTo>
                <a:cubicBezTo>
                  <a:pt x="50600" y="66586"/>
                  <a:pt x="50332" y="66777"/>
                  <a:pt x="50026" y="66853"/>
                </a:cubicBezTo>
                <a:cubicBezTo>
                  <a:pt x="49605" y="66930"/>
                  <a:pt x="49299" y="67198"/>
                  <a:pt x="48955" y="67351"/>
                </a:cubicBezTo>
                <a:cubicBezTo>
                  <a:pt x="48267" y="67657"/>
                  <a:pt x="47540" y="67886"/>
                  <a:pt x="46851" y="68192"/>
                </a:cubicBezTo>
                <a:cubicBezTo>
                  <a:pt x="45819" y="68613"/>
                  <a:pt x="44710" y="68880"/>
                  <a:pt x="43639" y="69301"/>
                </a:cubicBezTo>
                <a:cubicBezTo>
                  <a:pt x="42950" y="69607"/>
                  <a:pt x="42147" y="69722"/>
                  <a:pt x="41344" y="69875"/>
                </a:cubicBezTo>
                <a:cubicBezTo>
                  <a:pt x="40856" y="69961"/>
                  <a:pt x="40347" y="70068"/>
                  <a:pt x="39817" y="70068"/>
                </a:cubicBezTo>
                <a:cubicBezTo>
                  <a:pt x="39640" y="70068"/>
                  <a:pt x="39460" y="70057"/>
                  <a:pt x="39279" y="70028"/>
                </a:cubicBezTo>
                <a:cubicBezTo>
                  <a:pt x="38667" y="70449"/>
                  <a:pt x="37902" y="70143"/>
                  <a:pt x="37213" y="70410"/>
                </a:cubicBezTo>
                <a:cubicBezTo>
                  <a:pt x="37123" y="70455"/>
                  <a:pt x="37022" y="70471"/>
                  <a:pt x="36913" y="70471"/>
                </a:cubicBezTo>
                <a:cubicBezTo>
                  <a:pt x="36744" y="70471"/>
                  <a:pt x="36558" y="70434"/>
                  <a:pt x="36372" y="70410"/>
                </a:cubicBezTo>
                <a:cubicBezTo>
                  <a:pt x="36121" y="70389"/>
                  <a:pt x="35859" y="70323"/>
                  <a:pt x="35592" y="70323"/>
                </a:cubicBezTo>
                <a:cubicBezTo>
                  <a:pt x="35370" y="70323"/>
                  <a:pt x="35144" y="70369"/>
                  <a:pt x="34919" y="70525"/>
                </a:cubicBezTo>
                <a:cubicBezTo>
                  <a:pt x="34908" y="70536"/>
                  <a:pt x="34890" y="70541"/>
                  <a:pt x="34869" y="70541"/>
                </a:cubicBezTo>
                <a:cubicBezTo>
                  <a:pt x="34820" y="70541"/>
                  <a:pt x="34755" y="70514"/>
                  <a:pt x="34728" y="70487"/>
                </a:cubicBezTo>
                <a:cubicBezTo>
                  <a:pt x="34636" y="70370"/>
                  <a:pt x="34527" y="70337"/>
                  <a:pt x="34413" y="70337"/>
                </a:cubicBezTo>
                <a:cubicBezTo>
                  <a:pt x="34266" y="70337"/>
                  <a:pt x="34110" y="70391"/>
                  <a:pt x="33970" y="70391"/>
                </a:cubicBezTo>
                <a:cubicBezTo>
                  <a:pt x="33898" y="70391"/>
                  <a:pt x="33831" y="70376"/>
                  <a:pt x="33771" y="70334"/>
                </a:cubicBezTo>
                <a:cubicBezTo>
                  <a:pt x="33650" y="70368"/>
                  <a:pt x="33531" y="70381"/>
                  <a:pt x="33414" y="70381"/>
                </a:cubicBezTo>
                <a:cubicBezTo>
                  <a:pt x="33047" y="70381"/>
                  <a:pt x="32694" y="70254"/>
                  <a:pt x="32343" y="70254"/>
                </a:cubicBezTo>
                <a:cubicBezTo>
                  <a:pt x="32309" y="70254"/>
                  <a:pt x="32275" y="70255"/>
                  <a:pt x="32242" y="70257"/>
                </a:cubicBezTo>
                <a:cubicBezTo>
                  <a:pt x="32190" y="70268"/>
                  <a:pt x="32139" y="70272"/>
                  <a:pt x="32089" y="70272"/>
                </a:cubicBezTo>
                <a:cubicBezTo>
                  <a:pt x="31951" y="70272"/>
                  <a:pt x="31818" y="70237"/>
                  <a:pt x="31706" y="70181"/>
                </a:cubicBezTo>
                <a:cubicBezTo>
                  <a:pt x="30750" y="69760"/>
                  <a:pt x="29756" y="69951"/>
                  <a:pt x="28761" y="69760"/>
                </a:cubicBezTo>
                <a:cubicBezTo>
                  <a:pt x="28417" y="69684"/>
                  <a:pt x="28034" y="69798"/>
                  <a:pt x="27690" y="69492"/>
                </a:cubicBezTo>
                <a:cubicBezTo>
                  <a:pt x="27681" y="69473"/>
                  <a:pt x="27659" y="69466"/>
                  <a:pt x="27630" y="69466"/>
                </a:cubicBezTo>
                <a:cubicBezTo>
                  <a:pt x="27544" y="69466"/>
                  <a:pt x="27394" y="69531"/>
                  <a:pt x="27308" y="69531"/>
                </a:cubicBezTo>
                <a:cubicBezTo>
                  <a:pt x="27215" y="69562"/>
                  <a:pt x="27072" y="69618"/>
                  <a:pt x="27001" y="69618"/>
                </a:cubicBezTo>
                <a:cubicBezTo>
                  <a:pt x="26984" y="69618"/>
                  <a:pt x="26971" y="69614"/>
                  <a:pt x="26964" y="69607"/>
                </a:cubicBezTo>
                <a:cubicBezTo>
                  <a:pt x="26581" y="69110"/>
                  <a:pt x="25816" y="69378"/>
                  <a:pt x="25434" y="68880"/>
                </a:cubicBezTo>
                <a:cubicBezTo>
                  <a:pt x="25426" y="68872"/>
                  <a:pt x="25414" y="68869"/>
                  <a:pt x="25400" y="68869"/>
                </a:cubicBezTo>
                <a:cubicBezTo>
                  <a:pt x="25361" y="68869"/>
                  <a:pt x="25302" y="68892"/>
                  <a:pt x="25238" y="68892"/>
                </a:cubicBezTo>
                <a:cubicBezTo>
                  <a:pt x="25215" y="68892"/>
                  <a:pt x="25190" y="68889"/>
                  <a:pt x="25166" y="68880"/>
                </a:cubicBezTo>
                <a:cubicBezTo>
                  <a:pt x="24784" y="68842"/>
                  <a:pt x="24363" y="68766"/>
                  <a:pt x="23980" y="68689"/>
                </a:cubicBezTo>
                <a:cubicBezTo>
                  <a:pt x="23904" y="68651"/>
                  <a:pt x="23827" y="68498"/>
                  <a:pt x="23789" y="68383"/>
                </a:cubicBezTo>
                <a:cubicBezTo>
                  <a:pt x="23728" y="68301"/>
                  <a:pt x="23699" y="68263"/>
                  <a:pt x="23633" y="68263"/>
                </a:cubicBezTo>
                <a:cubicBezTo>
                  <a:pt x="23576" y="68263"/>
                  <a:pt x="23490" y="68292"/>
                  <a:pt x="23330" y="68345"/>
                </a:cubicBezTo>
                <a:cubicBezTo>
                  <a:pt x="23254" y="68345"/>
                  <a:pt x="23101" y="68345"/>
                  <a:pt x="23062" y="68269"/>
                </a:cubicBezTo>
                <a:cubicBezTo>
                  <a:pt x="22835" y="68070"/>
                  <a:pt x="22608" y="67892"/>
                  <a:pt x="22318" y="67892"/>
                </a:cubicBezTo>
                <a:cubicBezTo>
                  <a:pt x="22218" y="67892"/>
                  <a:pt x="22110" y="67913"/>
                  <a:pt x="21992" y="67963"/>
                </a:cubicBezTo>
                <a:cubicBezTo>
                  <a:pt x="21972" y="67967"/>
                  <a:pt x="21952" y="67968"/>
                  <a:pt x="21933" y="67968"/>
                </a:cubicBezTo>
                <a:cubicBezTo>
                  <a:pt x="21762" y="67968"/>
                  <a:pt x="21601" y="67824"/>
                  <a:pt x="21533" y="67618"/>
                </a:cubicBezTo>
                <a:cubicBezTo>
                  <a:pt x="21512" y="67492"/>
                  <a:pt x="21491" y="67435"/>
                  <a:pt x="21431" y="67435"/>
                </a:cubicBezTo>
                <a:cubicBezTo>
                  <a:pt x="21383" y="67435"/>
                  <a:pt x="21309" y="67473"/>
                  <a:pt x="21188" y="67542"/>
                </a:cubicBezTo>
                <a:cubicBezTo>
                  <a:pt x="21173" y="67558"/>
                  <a:pt x="21137" y="67567"/>
                  <a:pt x="21098" y="67567"/>
                </a:cubicBezTo>
                <a:cubicBezTo>
                  <a:pt x="21043" y="67567"/>
                  <a:pt x="20981" y="67548"/>
                  <a:pt x="20959" y="67504"/>
                </a:cubicBezTo>
                <a:cubicBezTo>
                  <a:pt x="20855" y="67348"/>
                  <a:pt x="20751" y="67192"/>
                  <a:pt x="20587" y="67192"/>
                </a:cubicBezTo>
                <a:cubicBezTo>
                  <a:pt x="20510" y="67192"/>
                  <a:pt x="20419" y="67227"/>
                  <a:pt x="20309" y="67312"/>
                </a:cubicBezTo>
                <a:cubicBezTo>
                  <a:pt x="20305" y="67317"/>
                  <a:pt x="20299" y="67318"/>
                  <a:pt x="20291" y="67318"/>
                </a:cubicBezTo>
                <a:cubicBezTo>
                  <a:pt x="20230" y="67318"/>
                  <a:pt x="20063" y="67189"/>
                  <a:pt x="19926" y="67121"/>
                </a:cubicBezTo>
                <a:cubicBezTo>
                  <a:pt x="19735" y="66968"/>
                  <a:pt x="19544" y="66853"/>
                  <a:pt x="19314" y="66739"/>
                </a:cubicBezTo>
                <a:cubicBezTo>
                  <a:pt x="19272" y="66755"/>
                  <a:pt x="19234" y="66763"/>
                  <a:pt x="19199" y="66763"/>
                </a:cubicBezTo>
                <a:cubicBezTo>
                  <a:pt x="19073" y="66763"/>
                  <a:pt x="18983" y="66667"/>
                  <a:pt x="18894" y="66547"/>
                </a:cubicBezTo>
                <a:cubicBezTo>
                  <a:pt x="18205" y="66050"/>
                  <a:pt x="17555" y="65591"/>
                  <a:pt x="16867" y="65094"/>
                </a:cubicBezTo>
                <a:cubicBezTo>
                  <a:pt x="16752" y="65018"/>
                  <a:pt x="16599" y="64941"/>
                  <a:pt x="16484" y="64941"/>
                </a:cubicBezTo>
                <a:cubicBezTo>
                  <a:pt x="16216" y="64903"/>
                  <a:pt x="16408" y="64750"/>
                  <a:pt x="16369" y="64673"/>
                </a:cubicBezTo>
                <a:cubicBezTo>
                  <a:pt x="16255" y="64520"/>
                  <a:pt x="16102" y="64367"/>
                  <a:pt x="15949" y="64291"/>
                </a:cubicBezTo>
                <a:cubicBezTo>
                  <a:pt x="15605" y="64100"/>
                  <a:pt x="15260" y="63832"/>
                  <a:pt x="15031" y="63564"/>
                </a:cubicBezTo>
                <a:cubicBezTo>
                  <a:pt x="14916" y="63411"/>
                  <a:pt x="14687" y="63373"/>
                  <a:pt x="14572" y="63220"/>
                </a:cubicBezTo>
                <a:cubicBezTo>
                  <a:pt x="14419" y="63029"/>
                  <a:pt x="14075" y="63105"/>
                  <a:pt x="14036" y="62761"/>
                </a:cubicBezTo>
                <a:cubicBezTo>
                  <a:pt x="13998" y="62532"/>
                  <a:pt x="13769" y="62379"/>
                  <a:pt x="13616" y="62187"/>
                </a:cubicBezTo>
                <a:cubicBezTo>
                  <a:pt x="13539" y="62111"/>
                  <a:pt x="13501" y="62073"/>
                  <a:pt x="13425" y="61996"/>
                </a:cubicBezTo>
                <a:cubicBezTo>
                  <a:pt x="13333" y="62111"/>
                  <a:pt x="13261" y="62153"/>
                  <a:pt x="13207" y="62153"/>
                </a:cubicBezTo>
                <a:cubicBezTo>
                  <a:pt x="13079" y="62153"/>
                  <a:pt x="13042" y="61923"/>
                  <a:pt x="13042" y="61843"/>
                </a:cubicBezTo>
                <a:cubicBezTo>
                  <a:pt x="13080" y="61461"/>
                  <a:pt x="12813" y="61270"/>
                  <a:pt x="12583" y="61155"/>
                </a:cubicBezTo>
                <a:cubicBezTo>
                  <a:pt x="12201" y="60964"/>
                  <a:pt x="11818" y="60811"/>
                  <a:pt x="11703" y="60352"/>
                </a:cubicBezTo>
                <a:cubicBezTo>
                  <a:pt x="11665" y="60313"/>
                  <a:pt x="11589" y="60237"/>
                  <a:pt x="11550" y="60237"/>
                </a:cubicBezTo>
                <a:cubicBezTo>
                  <a:pt x="11168" y="60160"/>
                  <a:pt x="11015" y="59854"/>
                  <a:pt x="10824" y="59625"/>
                </a:cubicBezTo>
                <a:cubicBezTo>
                  <a:pt x="10441" y="59166"/>
                  <a:pt x="10174" y="58592"/>
                  <a:pt x="9600" y="58286"/>
                </a:cubicBezTo>
                <a:cubicBezTo>
                  <a:pt x="9409" y="58172"/>
                  <a:pt x="9294" y="57866"/>
                  <a:pt x="9141" y="57674"/>
                </a:cubicBezTo>
                <a:cubicBezTo>
                  <a:pt x="8950" y="57292"/>
                  <a:pt x="8988" y="57292"/>
                  <a:pt x="8376" y="56871"/>
                </a:cubicBezTo>
                <a:cubicBezTo>
                  <a:pt x="8338" y="56833"/>
                  <a:pt x="8261" y="56795"/>
                  <a:pt x="8261" y="56795"/>
                </a:cubicBezTo>
                <a:cubicBezTo>
                  <a:pt x="8300" y="56183"/>
                  <a:pt x="7764" y="55992"/>
                  <a:pt x="7458" y="55647"/>
                </a:cubicBezTo>
                <a:cubicBezTo>
                  <a:pt x="7305" y="55418"/>
                  <a:pt x="7114" y="55227"/>
                  <a:pt x="7114" y="54921"/>
                </a:cubicBezTo>
                <a:cubicBezTo>
                  <a:pt x="7114" y="54576"/>
                  <a:pt x="6961" y="54347"/>
                  <a:pt x="6693" y="54118"/>
                </a:cubicBezTo>
                <a:cubicBezTo>
                  <a:pt x="6196" y="53735"/>
                  <a:pt x="5890" y="53238"/>
                  <a:pt x="5775" y="52588"/>
                </a:cubicBezTo>
                <a:cubicBezTo>
                  <a:pt x="5737" y="52473"/>
                  <a:pt x="5737" y="52320"/>
                  <a:pt x="5661" y="52243"/>
                </a:cubicBezTo>
                <a:cubicBezTo>
                  <a:pt x="5202" y="51899"/>
                  <a:pt x="5049" y="51326"/>
                  <a:pt x="4704" y="50905"/>
                </a:cubicBezTo>
                <a:cubicBezTo>
                  <a:pt x="4245" y="50255"/>
                  <a:pt x="3978" y="49451"/>
                  <a:pt x="3634" y="48687"/>
                </a:cubicBezTo>
                <a:cubicBezTo>
                  <a:pt x="3519" y="48457"/>
                  <a:pt x="3519" y="48151"/>
                  <a:pt x="3366" y="47922"/>
                </a:cubicBezTo>
                <a:cubicBezTo>
                  <a:pt x="3175" y="47654"/>
                  <a:pt x="3175" y="47386"/>
                  <a:pt x="3136" y="47080"/>
                </a:cubicBezTo>
                <a:cubicBezTo>
                  <a:pt x="3098" y="46774"/>
                  <a:pt x="3022" y="46507"/>
                  <a:pt x="2907" y="46201"/>
                </a:cubicBezTo>
                <a:cubicBezTo>
                  <a:pt x="2830" y="46048"/>
                  <a:pt x="2563" y="45780"/>
                  <a:pt x="2601" y="45742"/>
                </a:cubicBezTo>
                <a:cubicBezTo>
                  <a:pt x="2792" y="45436"/>
                  <a:pt x="2410" y="45436"/>
                  <a:pt x="2410" y="45359"/>
                </a:cubicBezTo>
                <a:cubicBezTo>
                  <a:pt x="2410" y="44747"/>
                  <a:pt x="2180" y="44212"/>
                  <a:pt x="2104" y="43638"/>
                </a:cubicBezTo>
                <a:cubicBezTo>
                  <a:pt x="1989" y="43179"/>
                  <a:pt x="2180" y="42644"/>
                  <a:pt x="1759" y="42223"/>
                </a:cubicBezTo>
                <a:cubicBezTo>
                  <a:pt x="1721" y="42147"/>
                  <a:pt x="1683" y="41994"/>
                  <a:pt x="1721" y="41879"/>
                </a:cubicBezTo>
                <a:cubicBezTo>
                  <a:pt x="1798" y="41649"/>
                  <a:pt x="1759" y="41458"/>
                  <a:pt x="1530" y="41305"/>
                </a:cubicBezTo>
                <a:cubicBezTo>
                  <a:pt x="1721" y="41152"/>
                  <a:pt x="1759" y="41037"/>
                  <a:pt x="1530" y="40884"/>
                </a:cubicBezTo>
                <a:cubicBezTo>
                  <a:pt x="1492" y="40846"/>
                  <a:pt x="1454" y="40731"/>
                  <a:pt x="1454" y="40655"/>
                </a:cubicBezTo>
                <a:cubicBezTo>
                  <a:pt x="1606" y="39966"/>
                  <a:pt x="1148" y="39393"/>
                  <a:pt x="1148" y="38743"/>
                </a:cubicBezTo>
                <a:cubicBezTo>
                  <a:pt x="1148" y="38092"/>
                  <a:pt x="1148" y="37442"/>
                  <a:pt x="1071" y="36792"/>
                </a:cubicBezTo>
                <a:cubicBezTo>
                  <a:pt x="956" y="36142"/>
                  <a:pt x="1071" y="35453"/>
                  <a:pt x="956" y="34803"/>
                </a:cubicBezTo>
                <a:cubicBezTo>
                  <a:pt x="880" y="34383"/>
                  <a:pt x="1109" y="33885"/>
                  <a:pt x="1148" y="33465"/>
                </a:cubicBezTo>
                <a:cubicBezTo>
                  <a:pt x="1186" y="33044"/>
                  <a:pt x="1071" y="32623"/>
                  <a:pt x="1186" y="32279"/>
                </a:cubicBezTo>
                <a:cubicBezTo>
                  <a:pt x="1339" y="31858"/>
                  <a:pt x="995" y="31514"/>
                  <a:pt x="1224" y="31132"/>
                </a:cubicBezTo>
                <a:cubicBezTo>
                  <a:pt x="1262" y="31055"/>
                  <a:pt x="1224" y="30979"/>
                  <a:pt x="1224" y="30902"/>
                </a:cubicBezTo>
                <a:cubicBezTo>
                  <a:pt x="1224" y="30596"/>
                  <a:pt x="1568" y="30443"/>
                  <a:pt x="1454" y="30099"/>
                </a:cubicBezTo>
                <a:cubicBezTo>
                  <a:pt x="1377" y="29870"/>
                  <a:pt x="1454" y="29564"/>
                  <a:pt x="1492" y="29296"/>
                </a:cubicBezTo>
                <a:cubicBezTo>
                  <a:pt x="1492" y="29219"/>
                  <a:pt x="1530" y="29066"/>
                  <a:pt x="1568" y="29028"/>
                </a:cubicBezTo>
                <a:cubicBezTo>
                  <a:pt x="1836" y="28990"/>
                  <a:pt x="1759" y="28875"/>
                  <a:pt x="1683" y="28722"/>
                </a:cubicBezTo>
                <a:cubicBezTo>
                  <a:pt x="1606" y="28607"/>
                  <a:pt x="1568" y="28493"/>
                  <a:pt x="1530" y="28416"/>
                </a:cubicBezTo>
                <a:cubicBezTo>
                  <a:pt x="1606" y="28378"/>
                  <a:pt x="1759" y="28378"/>
                  <a:pt x="1759" y="28340"/>
                </a:cubicBezTo>
                <a:cubicBezTo>
                  <a:pt x="1798" y="28110"/>
                  <a:pt x="1798" y="27881"/>
                  <a:pt x="1836" y="27651"/>
                </a:cubicBezTo>
                <a:cubicBezTo>
                  <a:pt x="1874" y="27422"/>
                  <a:pt x="1874" y="27192"/>
                  <a:pt x="1951" y="26925"/>
                </a:cubicBezTo>
                <a:cubicBezTo>
                  <a:pt x="2065" y="26542"/>
                  <a:pt x="2257" y="26160"/>
                  <a:pt x="2257" y="25739"/>
                </a:cubicBezTo>
                <a:cubicBezTo>
                  <a:pt x="2257" y="25483"/>
                  <a:pt x="2152" y="25086"/>
                  <a:pt x="2578" y="25086"/>
                </a:cubicBezTo>
                <a:cubicBezTo>
                  <a:pt x="2598" y="25086"/>
                  <a:pt x="2618" y="25087"/>
                  <a:pt x="2639" y="25089"/>
                </a:cubicBezTo>
                <a:cubicBezTo>
                  <a:pt x="2677" y="25089"/>
                  <a:pt x="2754" y="24974"/>
                  <a:pt x="2716" y="24974"/>
                </a:cubicBezTo>
                <a:cubicBezTo>
                  <a:pt x="2601" y="24553"/>
                  <a:pt x="2983" y="24324"/>
                  <a:pt x="2983" y="23903"/>
                </a:cubicBezTo>
                <a:cubicBezTo>
                  <a:pt x="2907" y="23138"/>
                  <a:pt x="3289" y="22412"/>
                  <a:pt x="3787" y="21800"/>
                </a:cubicBezTo>
                <a:cubicBezTo>
                  <a:pt x="3901" y="21608"/>
                  <a:pt x="3978" y="21494"/>
                  <a:pt x="3978" y="21226"/>
                </a:cubicBezTo>
                <a:cubicBezTo>
                  <a:pt x="4016" y="20882"/>
                  <a:pt x="4284" y="20461"/>
                  <a:pt x="4513" y="20193"/>
                </a:cubicBezTo>
                <a:cubicBezTo>
                  <a:pt x="4666" y="20002"/>
                  <a:pt x="4819" y="19887"/>
                  <a:pt x="4857" y="19658"/>
                </a:cubicBezTo>
                <a:cubicBezTo>
                  <a:pt x="5010" y="19122"/>
                  <a:pt x="5355" y="18740"/>
                  <a:pt x="5814" y="18319"/>
                </a:cubicBezTo>
                <a:cubicBezTo>
                  <a:pt x="5852" y="18281"/>
                  <a:pt x="5890" y="18281"/>
                  <a:pt x="5928" y="18243"/>
                </a:cubicBezTo>
                <a:cubicBezTo>
                  <a:pt x="6005" y="17822"/>
                  <a:pt x="6158" y="17440"/>
                  <a:pt x="6578" y="17248"/>
                </a:cubicBezTo>
                <a:cubicBezTo>
                  <a:pt x="6540" y="16789"/>
                  <a:pt x="6999" y="16560"/>
                  <a:pt x="7114" y="16177"/>
                </a:cubicBezTo>
                <a:cubicBezTo>
                  <a:pt x="7267" y="15833"/>
                  <a:pt x="7420" y="15604"/>
                  <a:pt x="7649" y="15336"/>
                </a:cubicBezTo>
                <a:cubicBezTo>
                  <a:pt x="8376" y="14648"/>
                  <a:pt x="8873" y="13768"/>
                  <a:pt x="9600" y="13041"/>
                </a:cubicBezTo>
                <a:cubicBezTo>
                  <a:pt x="9868" y="12774"/>
                  <a:pt x="10059" y="12353"/>
                  <a:pt x="10441" y="12085"/>
                </a:cubicBezTo>
                <a:cubicBezTo>
                  <a:pt x="10747" y="11856"/>
                  <a:pt x="11015" y="11511"/>
                  <a:pt x="11283" y="11205"/>
                </a:cubicBezTo>
                <a:cubicBezTo>
                  <a:pt x="11780" y="10708"/>
                  <a:pt x="12277" y="10173"/>
                  <a:pt x="12889" y="9752"/>
                </a:cubicBezTo>
                <a:cubicBezTo>
                  <a:pt x="13654" y="9217"/>
                  <a:pt x="14342" y="8490"/>
                  <a:pt x="15260" y="8069"/>
                </a:cubicBezTo>
                <a:cubicBezTo>
                  <a:pt x="15681" y="7916"/>
                  <a:pt x="16063" y="7572"/>
                  <a:pt x="16446" y="7266"/>
                </a:cubicBezTo>
                <a:cubicBezTo>
                  <a:pt x="17173" y="6807"/>
                  <a:pt x="17861" y="6272"/>
                  <a:pt x="18626" y="5813"/>
                </a:cubicBezTo>
                <a:cubicBezTo>
                  <a:pt x="19506" y="5277"/>
                  <a:pt x="20462" y="4818"/>
                  <a:pt x="21456" y="4474"/>
                </a:cubicBezTo>
                <a:cubicBezTo>
                  <a:pt x="22068" y="4283"/>
                  <a:pt x="22680" y="3977"/>
                  <a:pt x="23292" y="3747"/>
                </a:cubicBezTo>
                <a:cubicBezTo>
                  <a:pt x="23827" y="3556"/>
                  <a:pt x="24325" y="3327"/>
                  <a:pt x="24860" y="3212"/>
                </a:cubicBezTo>
                <a:cubicBezTo>
                  <a:pt x="25166" y="3174"/>
                  <a:pt x="25472" y="3097"/>
                  <a:pt x="25740" y="2868"/>
                </a:cubicBezTo>
                <a:cubicBezTo>
                  <a:pt x="25839" y="2802"/>
                  <a:pt x="25966" y="2707"/>
                  <a:pt x="26073" y="2707"/>
                </a:cubicBezTo>
                <a:cubicBezTo>
                  <a:pt x="26090" y="2707"/>
                  <a:pt x="26106" y="2710"/>
                  <a:pt x="26122" y="2715"/>
                </a:cubicBezTo>
                <a:cubicBezTo>
                  <a:pt x="26211" y="2742"/>
                  <a:pt x="26297" y="2754"/>
                  <a:pt x="26381" y="2754"/>
                </a:cubicBezTo>
                <a:cubicBezTo>
                  <a:pt x="26769" y="2754"/>
                  <a:pt x="27115" y="2510"/>
                  <a:pt x="27461" y="2447"/>
                </a:cubicBezTo>
                <a:cubicBezTo>
                  <a:pt x="27881" y="2332"/>
                  <a:pt x="28340" y="2332"/>
                  <a:pt x="28723" y="2103"/>
                </a:cubicBezTo>
                <a:cubicBezTo>
                  <a:pt x="29067" y="1950"/>
                  <a:pt x="29411" y="1797"/>
                  <a:pt x="29756" y="1797"/>
                </a:cubicBezTo>
                <a:cubicBezTo>
                  <a:pt x="30031" y="1797"/>
                  <a:pt x="30331" y="1846"/>
                  <a:pt x="30616" y="1846"/>
                </a:cubicBezTo>
                <a:cubicBezTo>
                  <a:pt x="30687" y="1846"/>
                  <a:pt x="30758" y="1843"/>
                  <a:pt x="30826" y="1835"/>
                </a:cubicBezTo>
                <a:cubicBezTo>
                  <a:pt x="31056" y="1835"/>
                  <a:pt x="31247" y="1720"/>
                  <a:pt x="31477" y="1682"/>
                </a:cubicBezTo>
                <a:cubicBezTo>
                  <a:pt x="31974" y="1606"/>
                  <a:pt x="32509" y="1529"/>
                  <a:pt x="33045" y="1529"/>
                </a:cubicBezTo>
                <a:cubicBezTo>
                  <a:pt x="33300" y="1529"/>
                  <a:pt x="33555" y="1427"/>
                  <a:pt x="33810" y="1427"/>
                </a:cubicBezTo>
                <a:cubicBezTo>
                  <a:pt x="33937" y="1427"/>
                  <a:pt x="34065" y="1453"/>
                  <a:pt x="34192" y="1529"/>
                </a:cubicBezTo>
                <a:cubicBezTo>
                  <a:pt x="34479" y="1357"/>
                  <a:pt x="34794" y="1348"/>
                  <a:pt x="35110" y="1348"/>
                </a:cubicBezTo>
                <a:cubicBezTo>
                  <a:pt x="35149" y="1348"/>
                  <a:pt x="35189" y="1348"/>
                  <a:pt x="35228" y="1348"/>
                </a:cubicBezTo>
                <a:cubicBezTo>
                  <a:pt x="35504" y="1348"/>
                  <a:pt x="35777" y="1340"/>
                  <a:pt x="36028" y="1223"/>
                </a:cubicBezTo>
                <a:cubicBezTo>
                  <a:pt x="36082" y="1196"/>
                  <a:pt x="36136" y="1169"/>
                  <a:pt x="36190" y="1169"/>
                </a:cubicBezTo>
                <a:close/>
                <a:moveTo>
                  <a:pt x="33072" y="1"/>
                </a:moveTo>
                <a:cubicBezTo>
                  <a:pt x="32808" y="1"/>
                  <a:pt x="32544" y="70"/>
                  <a:pt x="32280" y="114"/>
                </a:cubicBezTo>
                <a:cubicBezTo>
                  <a:pt x="32010" y="174"/>
                  <a:pt x="31716" y="352"/>
                  <a:pt x="31399" y="352"/>
                </a:cubicBezTo>
                <a:cubicBezTo>
                  <a:pt x="31312" y="352"/>
                  <a:pt x="31223" y="338"/>
                  <a:pt x="31132" y="305"/>
                </a:cubicBezTo>
                <a:cubicBezTo>
                  <a:pt x="31127" y="300"/>
                  <a:pt x="31120" y="298"/>
                  <a:pt x="31112" y="298"/>
                </a:cubicBezTo>
                <a:cubicBezTo>
                  <a:pt x="31061" y="298"/>
                  <a:pt x="30963" y="382"/>
                  <a:pt x="30865" y="382"/>
                </a:cubicBezTo>
                <a:cubicBezTo>
                  <a:pt x="30750" y="420"/>
                  <a:pt x="30597" y="420"/>
                  <a:pt x="30482" y="458"/>
                </a:cubicBezTo>
                <a:cubicBezTo>
                  <a:pt x="30355" y="458"/>
                  <a:pt x="30227" y="441"/>
                  <a:pt x="30088" y="441"/>
                </a:cubicBezTo>
                <a:cubicBezTo>
                  <a:pt x="30019" y="441"/>
                  <a:pt x="29947" y="446"/>
                  <a:pt x="29870" y="458"/>
                </a:cubicBezTo>
                <a:cubicBezTo>
                  <a:pt x="29449" y="491"/>
                  <a:pt x="29055" y="798"/>
                  <a:pt x="28596" y="798"/>
                </a:cubicBezTo>
                <a:cubicBezTo>
                  <a:pt x="28513" y="798"/>
                  <a:pt x="28428" y="788"/>
                  <a:pt x="28340" y="764"/>
                </a:cubicBezTo>
                <a:cubicBezTo>
                  <a:pt x="28302" y="764"/>
                  <a:pt x="28226" y="803"/>
                  <a:pt x="28226" y="841"/>
                </a:cubicBezTo>
                <a:cubicBezTo>
                  <a:pt x="27996" y="1147"/>
                  <a:pt x="27652" y="1070"/>
                  <a:pt x="27346" y="1109"/>
                </a:cubicBezTo>
                <a:cubicBezTo>
                  <a:pt x="26887" y="1147"/>
                  <a:pt x="26505" y="1223"/>
                  <a:pt x="26084" y="1453"/>
                </a:cubicBezTo>
                <a:cubicBezTo>
                  <a:pt x="25951" y="1586"/>
                  <a:pt x="25732" y="1690"/>
                  <a:pt x="25551" y="1690"/>
                </a:cubicBezTo>
                <a:cubicBezTo>
                  <a:pt x="25524" y="1690"/>
                  <a:pt x="25497" y="1687"/>
                  <a:pt x="25472" y="1682"/>
                </a:cubicBezTo>
                <a:cubicBezTo>
                  <a:pt x="25352" y="1662"/>
                  <a:pt x="25232" y="1601"/>
                  <a:pt x="25134" y="1601"/>
                </a:cubicBezTo>
                <a:cubicBezTo>
                  <a:pt x="25045" y="1601"/>
                  <a:pt x="24973" y="1652"/>
                  <a:pt x="24937" y="1835"/>
                </a:cubicBezTo>
                <a:cubicBezTo>
                  <a:pt x="24881" y="1798"/>
                  <a:pt x="24833" y="1784"/>
                  <a:pt x="24789" y="1784"/>
                </a:cubicBezTo>
                <a:cubicBezTo>
                  <a:pt x="24650" y="1784"/>
                  <a:pt x="24556" y="1930"/>
                  <a:pt x="24439" y="1988"/>
                </a:cubicBezTo>
                <a:cubicBezTo>
                  <a:pt x="24248" y="2103"/>
                  <a:pt x="23980" y="2065"/>
                  <a:pt x="23789" y="2141"/>
                </a:cubicBezTo>
                <a:cubicBezTo>
                  <a:pt x="23368" y="2256"/>
                  <a:pt x="22948" y="2409"/>
                  <a:pt x="22527" y="2600"/>
                </a:cubicBezTo>
                <a:cubicBezTo>
                  <a:pt x="22106" y="2753"/>
                  <a:pt x="21724" y="2983"/>
                  <a:pt x="21303" y="3174"/>
                </a:cubicBezTo>
                <a:cubicBezTo>
                  <a:pt x="21035" y="3289"/>
                  <a:pt x="20729" y="3365"/>
                  <a:pt x="20500" y="3556"/>
                </a:cubicBezTo>
                <a:cubicBezTo>
                  <a:pt x="19850" y="4130"/>
                  <a:pt x="18932" y="4206"/>
                  <a:pt x="18243" y="4742"/>
                </a:cubicBezTo>
                <a:cubicBezTo>
                  <a:pt x="17823" y="5086"/>
                  <a:pt x="17211" y="5124"/>
                  <a:pt x="16790" y="5430"/>
                </a:cubicBezTo>
                <a:cubicBezTo>
                  <a:pt x="16255" y="5851"/>
                  <a:pt x="15528" y="6080"/>
                  <a:pt x="15184" y="6769"/>
                </a:cubicBezTo>
                <a:cubicBezTo>
                  <a:pt x="15146" y="6807"/>
                  <a:pt x="14993" y="6807"/>
                  <a:pt x="14916" y="6884"/>
                </a:cubicBezTo>
                <a:cubicBezTo>
                  <a:pt x="14534" y="7113"/>
                  <a:pt x="14151" y="7381"/>
                  <a:pt x="13769" y="7649"/>
                </a:cubicBezTo>
                <a:cubicBezTo>
                  <a:pt x="13386" y="7955"/>
                  <a:pt x="13080" y="8375"/>
                  <a:pt x="12583" y="8452"/>
                </a:cubicBezTo>
                <a:cubicBezTo>
                  <a:pt x="12545" y="8452"/>
                  <a:pt x="12507" y="8528"/>
                  <a:pt x="12468" y="8566"/>
                </a:cubicBezTo>
                <a:cubicBezTo>
                  <a:pt x="12124" y="9064"/>
                  <a:pt x="11436" y="9255"/>
                  <a:pt x="11244" y="9943"/>
                </a:cubicBezTo>
                <a:cubicBezTo>
                  <a:pt x="10824" y="10173"/>
                  <a:pt x="10480" y="10517"/>
                  <a:pt x="10288" y="10976"/>
                </a:cubicBezTo>
                <a:cubicBezTo>
                  <a:pt x="10212" y="11167"/>
                  <a:pt x="9906" y="11244"/>
                  <a:pt x="9791" y="11397"/>
                </a:cubicBezTo>
                <a:cubicBezTo>
                  <a:pt x="9409" y="12162"/>
                  <a:pt x="8644" y="12582"/>
                  <a:pt x="8185" y="13233"/>
                </a:cubicBezTo>
                <a:cubicBezTo>
                  <a:pt x="7764" y="13844"/>
                  <a:pt x="7190" y="14342"/>
                  <a:pt x="6693" y="14915"/>
                </a:cubicBezTo>
                <a:cubicBezTo>
                  <a:pt x="6273" y="15451"/>
                  <a:pt x="5814" y="15986"/>
                  <a:pt x="5622" y="16675"/>
                </a:cubicBezTo>
                <a:cubicBezTo>
                  <a:pt x="5508" y="17057"/>
                  <a:pt x="5316" y="17440"/>
                  <a:pt x="5010" y="17631"/>
                </a:cubicBezTo>
                <a:cubicBezTo>
                  <a:pt x="4398" y="18052"/>
                  <a:pt x="4398" y="18855"/>
                  <a:pt x="3863" y="19314"/>
                </a:cubicBezTo>
                <a:cubicBezTo>
                  <a:pt x="3595" y="19543"/>
                  <a:pt x="3519" y="19964"/>
                  <a:pt x="3366" y="20308"/>
                </a:cubicBezTo>
                <a:cubicBezTo>
                  <a:pt x="3213" y="20652"/>
                  <a:pt x="3136" y="21073"/>
                  <a:pt x="2907" y="21341"/>
                </a:cubicBezTo>
                <a:cubicBezTo>
                  <a:pt x="2601" y="21685"/>
                  <a:pt x="2677" y="22067"/>
                  <a:pt x="2524" y="22412"/>
                </a:cubicBezTo>
                <a:cubicBezTo>
                  <a:pt x="2142" y="23215"/>
                  <a:pt x="1874" y="24094"/>
                  <a:pt x="1606" y="24936"/>
                </a:cubicBezTo>
                <a:cubicBezTo>
                  <a:pt x="1454" y="25395"/>
                  <a:pt x="1262" y="25892"/>
                  <a:pt x="1109" y="26389"/>
                </a:cubicBezTo>
                <a:cubicBezTo>
                  <a:pt x="956" y="26886"/>
                  <a:pt x="880" y="27422"/>
                  <a:pt x="765" y="27957"/>
                </a:cubicBezTo>
                <a:cubicBezTo>
                  <a:pt x="727" y="28301"/>
                  <a:pt x="765" y="28684"/>
                  <a:pt x="612" y="28952"/>
                </a:cubicBezTo>
                <a:cubicBezTo>
                  <a:pt x="459" y="29258"/>
                  <a:pt x="880" y="29640"/>
                  <a:pt x="459" y="29908"/>
                </a:cubicBezTo>
                <a:cubicBezTo>
                  <a:pt x="536" y="30328"/>
                  <a:pt x="459" y="30711"/>
                  <a:pt x="191" y="31055"/>
                </a:cubicBezTo>
                <a:cubicBezTo>
                  <a:pt x="191" y="31055"/>
                  <a:pt x="191" y="31132"/>
                  <a:pt x="191" y="31132"/>
                </a:cubicBezTo>
                <a:cubicBezTo>
                  <a:pt x="574" y="31170"/>
                  <a:pt x="230" y="31438"/>
                  <a:pt x="306" y="31629"/>
                </a:cubicBezTo>
                <a:cubicBezTo>
                  <a:pt x="421" y="31820"/>
                  <a:pt x="344" y="32126"/>
                  <a:pt x="268" y="32356"/>
                </a:cubicBezTo>
                <a:cubicBezTo>
                  <a:pt x="38" y="33426"/>
                  <a:pt x="77" y="34574"/>
                  <a:pt x="0" y="35683"/>
                </a:cubicBezTo>
                <a:cubicBezTo>
                  <a:pt x="0" y="35951"/>
                  <a:pt x="115" y="36257"/>
                  <a:pt x="77" y="36563"/>
                </a:cubicBezTo>
                <a:cubicBezTo>
                  <a:pt x="38" y="36983"/>
                  <a:pt x="38" y="37366"/>
                  <a:pt x="115" y="37748"/>
                </a:cubicBezTo>
                <a:cubicBezTo>
                  <a:pt x="191" y="38131"/>
                  <a:pt x="306" y="38513"/>
                  <a:pt x="230" y="38819"/>
                </a:cubicBezTo>
                <a:cubicBezTo>
                  <a:pt x="153" y="39202"/>
                  <a:pt x="230" y="39508"/>
                  <a:pt x="268" y="39813"/>
                </a:cubicBezTo>
                <a:cubicBezTo>
                  <a:pt x="306" y="40081"/>
                  <a:pt x="536" y="40311"/>
                  <a:pt x="344" y="40578"/>
                </a:cubicBezTo>
                <a:cubicBezTo>
                  <a:pt x="306" y="40655"/>
                  <a:pt x="383" y="40770"/>
                  <a:pt x="421" y="40846"/>
                </a:cubicBezTo>
                <a:cubicBezTo>
                  <a:pt x="459" y="40999"/>
                  <a:pt x="574" y="41152"/>
                  <a:pt x="574" y="41305"/>
                </a:cubicBezTo>
                <a:cubicBezTo>
                  <a:pt x="689" y="41841"/>
                  <a:pt x="574" y="42452"/>
                  <a:pt x="880" y="42950"/>
                </a:cubicBezTo>
                <a:cubicBezTo>
                  <a:pt x="956" y="43026"/>
                  <a:pt x="918" y="43179"/>
                  <a:pt x="918" y="43256"/>
                </a:cubicBezTo>
                <a:cubicBezTo>
                  <a:pt x="918" y="43753"/>
                  <a:pt x="1071" y="44365"/>
                  <a:pt x="1262" y="44977"/>
                </a:cubicBezTo>
                <a:cubicBezTo>
                  <a:pt x="1377" y="45397"/>
                  <a:pt x="1377" y="45856"/>
                  <a:pt x="1683" y="46201"/>
                </a:cubicBezTo>
                <a:cubicBezTo>
                  <a:pt x="1492" y="46698"/>
                  <a:pt x="1989" y="46966"/>
                  <a:pt x="1989" y="47424"/>
                </a:cubicBezTo>
                <a:cubicBezTo>
                  <a:pt x="1989" y="47654"/>
                  <a:pt x="2104" y="47883"/>
                  <a:pt x="2180" y="48113"/>
                </a:cubicBezTo>
                <a:cubicBezTo>
                  <a:pt x="2486" y="48801"/>
                  <a:pt x="2677" y="49528"/>
                  <a:pt x="3022" y="50216"/>
                </a:cubicBezTo>
                <a:cubicBezTo>
                  <a:pt x="3175" y="50484"/>
                  <a:pt x="3328" y="50828"/>
                  <a:pt x="3442" y="51134"/>
                </a:cubicBezTo>
                <a:cubicBezTo>
                  <a:pt x="3557" y="51402"/>
                  <a:pt x="3595" y="51785"/>
                  <a:pt x="3901" y="51899"/>
                </a:cubicBezTo>
                <a:cubicBezTo>
                  <a:pt x="4284" y="52090"/>
                  <a:pt x="4131" y="52473"/>
                  <a:pt x="4360" y="52741"/>
                </a:cubicBezTo>
                <a:cubicBezTo>
                  <a:pt x="4590" y="53008"/>
                  <a:pt x="4743" y="53391"/>
                  <a:pt x="4972" y="53697"/>
                </a:cubicBezTo>
                <a:cubicBezTo>
                  <a:pt x="5202" y="54041"/>
                  <a:pt x="5125" y="54538"/>
                  <a:pt x="5622" y="54729"/>
                </a:cubicBezTo>
                <a:cubicBezTo>
                  <a:pt x="5699" y="54768"/>
                  <a:pt x="5737" y="54997"/>
                  <a:pt x="5775" y="55112"/>
                </a:cubicBezTo>
                <a:cubicBezTo>
                  <a:pt x="5890" y="55303"/>
                  <a:pt x="5928" y="55533"/>
                  <a:pt x="6043" y="55686"/>
                </a:cubicBezTo>
                <a:cubicBezTo>
                  <a:pt x="6655" y="56374"/>
                  <a:pt x="7076" y="57254"/>
                  <a:pt x="7726" y="57942"/>
                </a:cubicBezTo>
                <a:cubicBezTo>
                  <a:pt x="8414" y="58669"/>
                  <a:pt x="9064" y="59472"/>
                  <a:pt x="9676" y="60313"/>
                </a:cubicBezTo>
                <a:cubicBezTo>
                  <a:pt x="9868" y="60543"/>
                  <a:pt x="10212" y="60543"/>
                  <a:pt x="10288" y="60772"/>
                </a:cubicBezTo>
                <a:cubicBezTo>
                  <a:pt x="10518" y="61422"/>
                  <a:pt x="11283" y="61499"/>
                  <a:pt x="11512" y="62111"/>
                </a:cubicBezTo>
                <a:cubicBezTo>
                  <a:pt x="12354" y="62646"/>
                  <a:pt x="12927" y="63488"/>
                  <a:pt x="13654" y="64176"/>
                </a:cubicBezTo>
                <a:cubicBezTo>
                  <a:pt x="14036" y="64520"/>
                  <a:pt x="14457" y="64865"/>
                  <a:pt x="14878" y="65209"/>
                </a:cubicBezTo>
                <a:cubicBezTo>
                  <a:pt x="15031" y="65324"/>
                  <a:pt x="15260" y="65400"/>
                  <a:pt x="15413" y="65515"/>
                </a:cubicBezTo>
                <a:cubicBezTo>
                  <a:pt x="16102" y="66012"/>
                  <a:pt x="16790" y="66586"/>
                  <a:pt x="17670" y="66853"/>
                </a:cubicBezTo>
                <a:cubicBezTo>
                  <a:pt x="17710" y="66853"/>
                  <a:pt x="17789" y="66839"/>
                  <a:pt x="17870" y="66839"/>
                </a:cubicBezTo>
                <a:cubicBezTo>
                  <a:pt x="18020" y="66839"/>
                  <a:pt x="18178" y="66887"/>
                  <a:pt x="18129" y="67159"/>
                </a:cubicBezTo>
                <a:cubicBezTo>
                  <a:pt x="18129" y="67198"/>
                  <a:pt x="18320" y="67236"/>
                  <a:pt x="18435" y="67274"/>
                </a:cubicBezTo>
                <a:cubicBezTo>
                  <a:pt x="18473" y="67293"/>
                  <a:pt x="18521" y="67293"/>
                  <a:pt x="18569" y="67293"/>
                </a:cubicBezTo>
                <a:cubicBezTo>
                  <a:pt x="18616" y="67293"/>
                  <a:pt x="18664" y="67293"/>
                  <a:pt x="18702" y="67312"/>
                </a:cubicBezTo>
                <a:cubicBezTo>
                  <a:pt x="19161" y="67504"/>
                  <a:pt x="19582" y="67695"/>
                  <a:pt x="19965" y="67924"/>
                </a:cubicBezTo>
                <a:cubicBezTo>
                  <a:pt x="20328" y="68122"/>
                  <a:pt x="20605" y="68406"/>
                  <a:pt x="21019" y="68406"/>
                </a:cubicBezTo>
                <a:cubicBezTo>
                  <a:pt x="21085" y="68406"/>
                  <a:pt x="21154" y="68399"/>
                  <a:pt x="21227" y="68383"/>
                </a:cubicBezTo>
                <a:cubicBezTo>
                  <a:pt x="21265" y="68383"/>
                  <a:pt x="21341" y="68536"/>
                  <a:pt x="21456" y="68575"/>
                </a:cubicBezTo>
                <a:cubicBezTo>
                  <a:pt x="21522" y="68607"/>
                  <a:pt x="21644" y="68697"/>
                  <a:pt x="21726" y="68697"/>
                </a:cubicBezTo>
                <a:cubicBezTo>
                  <a:pt x="21739" y="68697"/>
                  <a:pt x="21751" y="68695"/>
                  <a:pt x="21762" y="68689"/>
                </a:cubicBezTo>
                <a:cubicBezTo>
                  <a:pt x="21829" y="68656"/>
                  <a:pt x="21887" y="68642"/>
                  <a:pt x="21938" y="68642"/>
                </a:cubicBezTo>
                <a:cubicBezTo>
                  <a:pt x="22062" y="68642"/>
                  <a:pt x="22151" y="68723"/>
                  <a:pt x="22259" y="68804"/>
                </a:cubicBezTo>
                <a:cubicBezTo>
                  <a:pt x="22325" y="68870"/>
                  <a:pt x="22448" y="68965"/>
                  <a:pt x="22530" y="68965"/>
                </a:cubicBezTo>
                <a:cubicBezTo>
                  <a:pt x="22543" y="68965"/>
                  <a:pt x="22555" y="68962"/>
                  <a:pt x="22565" y="68957"/>
                </a:cubicBezTo>
                <a:cubicBezTo>
                  <a:pt x="22607" y="68947"/>
                  <a:pt x="22645" y="68942"/>
                  <a:pt x="22680" y="68942"/>
                </a:cubicBezTo>
                <a:cubicBezTo>
                  <a:pt x="22904" y="68942"/>
                  <a:pt x="23012" y="69136"/>
                  <a:pt x="23177" y="69301"/>
                </a:cubicBezTo>
                <a:cubicBezTo>
                  <a:pt x="23233" y="69357"/>
                  <a:pt x="23351" y="69393"/>
                  <a:pt x="23455" y="69393"/>
                </a:cubicBezTo>
                <a:cubicBezTo>
                  <a:pt x="23493" y="69393"/>
                  <a:pt x="23529" y="69388"/>
                  <a:pt x="23560" y="69378"/>
                </a:cubicBezTo>
                <a:cubicBezTo>
                  <a:pt x="23629" y="69326"/>
                  <a:pt x="23690" y="69305"/>
                  <a:pt x="23751" y="69305"/>
                </a:cubicBezTo>
                <a:cubicBezTo>
                  <a:pt x="23824" y="69305"/>
                  <a:pt x="23896" y="69336"/>
                  <a:pt x="23980" y="69378"/>
                </a:cubicBezTo>
                <a:cubicBezTo>
                  <a:pt x="24095" y="69492"/>
                  <a:pt x="24248" y="69645"/>
                  <a:pt x="24401" y="69645"/>
                </a:cubicBezTo>
                <a:cubicBezTo>
                  <a:pt x="24707" y="69645"/>
                  <a:pt x="24975" y="69645"/>
                  <a:pt x="25166" y="69990"/>
                </a:cubicBezTo>
                <a:cubicBezTo>
                  <a:pt x="25181" y="70051"/>
                  <a:pt x="25221" y="70075"/>
                  <a:pt x="25273" y="70075"/>
                </a:cubicBezTo>
                <a:cubicBezTo>
                  <a:pt x="25351" y="70075"/>
                  <a:pt x="25457" y="70020"/>
                  <a:pt x="25548" y="69951"/>
                </a:cubicBezTo>
                <a:cubicBezTo>
                  <a:pt x="25612" y="69900"/>
                  <a:pt x="25672" y="69879"/>
                  <a:pt x="25728" y="69879"/>
                </a:cubicBezTo>
                <a:cubicBezTo>
                  <a:pt x="25842" y="69879"/>
                  <a:pt x="25944" y="69964"/>
                  <a:pt x="26046" y="70066"/>
                </a:cubicBezTo>
                <a:cubicBezTo>
                  <a:pt x="26183" y="70286"/>
                  <a:pt x="26242" y="70368"/>
                  <a:pt x="26306" y="70368"/>
                </a:cubicBezTo>
                <a:cubicBezTo>
                  <a:pt x="26331" y="70368"/>
                  <a:pt x="26358" y="70355"/>
                  <a:pt x="26390" y="70334"/>
                </a:cubicBezTo>
                <a:cubicBezTo>
                  <a:pt x="26501" y="70251"/>
                  <a:pt x="26596" y="70223"/>
                  <a:pt x="26686" y="70223"/>
                </a:cubicBezTo>
                <a:cubicBezTo>
                  <a:pt x="26844" y="70223"/>
                  <a:pt x="26984" y="70309"/>
                  <a:pt x="27155" y="70334"/>
                </a:cubicBezTo>
                <a:cubicBezTo>
                  <a:pt x="27316" y="70388"/>
                  <a:pt x="27459" y="70688"/>
                  <a:pt x="27649" y="70688"/>
                </a:cubicBezTo>
                <a:cubicBezTo>
                  <a:pt x="27729" y="70688"/>
                  <a:pt x="27818" y="70634"/>
                  <a:pt x="27920" y="70487"/>
                </a:cubicBezTo>
                <a:cubicBezTo>
                  <a:pt x="27920" y="70487"/>
                  <a:pt x="27996" y="70563"/>
                  <a:pt x="28034" y="70563"/>
                </a:cubicBezTo>
                <a:cubicBezTo>
                  <a:pt x="28302" y="70678"/>
                  <a:pt x="28570" y="70831"/>
                  <a:pt x="28838" y="70869"/>
                </a:cubicBezTo>
                <a:cubicBezTo>
                  <a:pt x="29182" y="70946"/>
                  <a:pt x="29564" y="70908"/>
                  <a:pt x="29909" y="70984"/>
                </a:cubicBezTo>
                <a:cubicBezTo>
                  <a:pt x="30329" y="71022"/>
                  <a:pt x="30750" y="71099"/>
                  <a:pt x="31171" y="71213"/>
                </a:cubicBezTo>
                <a:cubicBezTo>
                  <a:pt x="31304" y="71233"/>
                  <a:pt x="31429" y="71242"/>
                  <a:pt x="31558" y="71242"/>
                </a:cubicBezTo>
                <a:cubicBezTo>
                  <a:pt x="31687" y="71242"/>
                  <a:pt x="31821" y="71233"/>
                  <a:pt x="31974" y="71213"/>
                </a:cubicBezTo>
                <a:cubicBezTo>
                  <a:pt x="31995" y="71206"/>
                  <a:pt x="32018" y="71203"/>
                  <a:pt x="32041" y="71203"/>
                </a:cubicBezTo>
                <a:cubicBezTo>
                  <a:pt x="32189" y="71203"/>
                  <a:pt x="32362" y="71334"/>
                  <a:pt x="32533" y="71334"/>
                </a:cubicBezTo>
                <a:cubicBezTo>
                  <a:pt x="32616" y="71334"/>
                  <a:pt x="32698" y="71304"/>
                  <a:pt x="32777" y="71213"/>
                </a:cubicBezTo>
                <a:cubicBezTo>
                  <a:pt x="33010" y="71330"/>
                  <a:pt x="33243" y="71374"/>
                  <a:pt x="33476" y="71374"/>
                </a:cubicBezTo>
                <a:cubicBezTo>
                  <a:pt x="33779" y="71374"/>
                  <a:pt x="34081" y="71300"/>
                  <a:pt x="34383" y="71213"/>
                </a:cubicBezTo>
                <a:cubicBezTo>
                  <a:pt x="34422" y="71194"/>
                  <a:pt x="34460" y="71185"/>
                  <a:pt x="34498" y="71185"/>
                </a:cubicBezTo>
                <a:cubicBezTo>
                  <a:pt x="34536" y="71185"/>
                  <a:pt x="34575" y="71194"/>
                  <a:pt x="34613" y="71213"/>
                </a:cubicBezTo>
                <a:cubicBezTo>
                  <a:pt x="34861" y="71213"/>
                  <a:pt x="35120" y="71194"/>
                  <a:pt x="35368" y="71194"/>
                </a:cubicBezTo>
                <a:cubicBezTo>
                  <a:pt x="35617" y="71194"/>
                  <a:pt x="35856" y="71213"/>
                  <a:pt x="36066" y="71290"/>
                </a:cubicBezTo>
                <a:cubicBezTo>
                  <a:pt x="36117" y="71305"/>
                  <a:pt x="36167" y="71312"/>
                  <a:pt x="36214" y="71312"/>
                </a:cubicBezTo>
                <a:cubicBezTo>
                  <a:pt x="36460" y="71312"/>
                  <a:pt x="36658" y="71139"/>
                  <a:pt x="36846" y="71139"/>
                </a:cubicBezTo>
                <a:cubicBezTo>
                  <a:pt x="36892" y="71139"/>
                  <a:pt x="36938" y="71149"/>
                  <a:pt x="36984" y="71175"/>
                </a:cubicBezTo>
                <a:cubicBezTo>
                  <a:pt x="37113" y="71246"/>
                  <a:pt x="37235" y="71269"/>
                  <a:pt x="37353" y="71269"/>
                </a:cubicBezTo>
                <a:cubicBezTo>
                  <a:pt x="37593" y="71269"/>
                  <a:pt x="37817" y="71171"/>
                  <a:pt x="38053" y="71171"/>
                </a:cubicBezTo>
                <a:cubicBezTo>
                  <a:pt x="38079" y="71171"/>
                  <a:pt x="38105" y="71173"/>
                  <a:pt x="38131" y="71175"/>
                </a:cubicBezTo>
                <a:cubicBezTo>
                  <a:pt x="38223" y="71175"/>
                  <a:pt x="38364" y="71126"/>
                  <a:pt x="38475" y="71126"/>
                </a:cubicBezTo>
                <a:cubicBezTo>
                  <a:pt x="38503" y="71126"/>
                  <a:pt x="38529" y="71129"/>
                  <a:pt x="38552" y="71137"/>
                </a:cubicBezTo>
                <a:cubicBezTo>
                  <a:pt x="38659" y="71198"/>
                  <a:pt x="38760" y="71223"/>
                  <a:pt x="38855" y="71223"/>
                </a:cubicBezTo>
                <a:cubicBezTo>
                  <a:pt x="38997" y="71223"/>
                  <a:pt x="39126" y="71168"/>
                  <a:pt x="39241" y="71099"/>
                </a:cubicBezTo>
                <a:cubicBezTo>
                  <a:pt x="39386" y="71026"/>
                  <a:pt x="39516" y="70999"/>
                  <a:pt x="39650" y="70999"/>
                </a:cubicBezTo>
                <a:cubicBezTo>
                  <a:pt x="39728" y="70999"/>
                  <a:pt x="39807" y="71008"/>
                  <a:pt x="39891" y="71022"/>
                </a:cubicBezTo>
                <a:cubicBezTo>
                  <a:pt x="39993" y="71039"/>
                  <a:pt x="40111" y="71072"/>
                  <a:pt x="40226" y="71072"/>
                </a:cubicBezTo>
                <a:cubicBezTo>
                  <a:pt x="40370" y="71072"/>
                  <a:pt x="40511" y="71022"/>
                  <a:pt x="40617" y="70831"/>
                </a:cubicBezTo>
                <a:cubicBezTo>
                  <a:pt x="40617" y="70831"/>
                  <a:pt x="40732" y="70869"/>
                  <a:pt x="40770" y="70869"/>
                </a:cubicBezTo>
                <a:cubicBezTo>
                  <a:pt x="41306" y="70869"/>
                  <a:pt x="41880" y="70831"/>
                  <a:pt x="42338" y="70563"/>
                </a:cubicBezTo>
                <a:cubicBezTo>
                  <a:pt x="42797" y="70296"/>
                  <a:pt x="43448" y="70678"/>
                  <a:pt x="43792" y="70066"/>
                </a:cubicBezTo>
                <a:cubicBezTo>
                  <a:pt x="43792" y="70066"/>
                  <a:pt x="43907" y="70104"/>
                  <a:pt x="43907" y="70104"/>
                </a:cubicBezTo>
                <a:cubicBezTo>
                  <a:pt x="44002" y="70162"/>
                  <a:pt x="44079" y="70181"/>
                  <a:pt x="44155" y="70181"/>
                </a:cubicBezTo>
                <a:cubicBezTo>
                  <a:pt x="44232" y="70181"/>
                  <a:pt x="44308" y="70162"/>
                  <a:pt x="44404" y="70143"/>
                </a:cubicBezTo>
                <a:cubicBezTo>
                  <a:pt x="45054" y="70028"/>
                  <a:pt x="45628" y="69684"/>
                  <a:pt x="46240" y="69492"/>
                </a:cubicBezTo>
                <a:cubicBezTo>
                  <a:pt x="46699" y="69301"/>
                  <a:pt x="47157" y="69110"/>
                  <a:pt x="47578" y="68957"/>
                </a:cubicBezTo>
                <a:cubicBezTo>
                  <a:pt x="47676" y="69016"/>
                  <a:pt x="47762" y="69039"/>
                  <a:pt x="47838" y="69039"/>
                </a:cubicBezTo>
                <a:cubicBezTo>
                  <a:pt x="48059" y="69039"/>
                  <a:pt x="48201" y="68841"/>
                  <a:pt x="48343" y="68727"/>
                </a:cubicBezTo>
                <a:cubicBezTo>
                  <a:pt x="48458" y="68689"/>
                  <a:pt x="48534" y="68498"/>
                  <a:pt x="48649" y="68498"/>
                </a:cubicBezTo>
                <a:cubicBezTo>
                  <a:pt x="48671" y="68500"/>
                  <a:pt x="48692" y="68501"/>
                  <a:pt x="48712" y="68501"/>
                </a:cubicBezTo>
                <a:cubicBezTo>
                  <a:pt x="49133" y="68501"/>
                  <a:pt x="49392" y="68143"/>
                  <a:pt x="49720" y="67924"/>
                </a:cubicBezTo>
                <a:cubicBezTo>
                  <a:pt x="49988" y="67810"/>
                  <a:pt x="50255" y="67504"/>
                  <a:pt x="50485" y="67504"/>
                </a:cubicBezTo>
                <a:cubicBezTo>
                  <a:pt x="50507" y="67506"/>
                  <a:pt x="50529" y="67507"/>
                  <a:pt x="50550" y="67507"/>
                </a:cubicBezTo>
                <a:cubicBezTo>
                  <a:pt x="50849" y="67507"/>
                  <a:pt x="50995" y="67264"/>
                  <a:pt x="51173" y="67121"/>
                </a:cubicBezTo>
                <a:cubicBezTo>
                  <a:pt x="51441" y="66968"/>
                  <a:pt x="51747" y="67006"/>
                  <a:pt x="51976" y="66777"/>
                </a:cubicBezTo>
                <a:cubicBezTo>
                  <a:pt x="52321" y="66471"/>
                  <a:pt x="52780" y="66241"/>
                  <a:pt x="53200" y="66050"/>
                </a:cubicBezTo>
                <a:cubicBezTo>
                  <a:pt x="54424" y="65362"/>
                  <a:pt x="55610" y="64712"/>
                  <a:pt x="56642" y="63717"/>
                </a:cubicBezTo>
                <a:cubicBezTo>
                  <a:pt x="56719" y="63641"/>
                  <a:pt x="56834" y="63564"/>
                  <a:pt x="56948" y="63526"/>
                </a:cubicBezTo>
                <a:cubicBezTo>
                  <a:pt x="57369" y="63335"/>
                  <a:pt x="57713" y="63105"/>
                  <a:pt x="58019" y="62761"/>
                </a:cubicBezTo>
                <a:cubicBezTo>
                  <a:pt x="58402" y="62379"/>
                  <a:pt x="58822" y="61996"/>
                  <a:pt x="59281" y="61690"/>
                </a:cubicBezTo>
                <a:cubicBezTo>
                  <a:pt x="59702" y="61384"/>
                  <a:pt x="59970" y="60887"/>
                  <a:pt x="60467" y="60619"/>
                </a:cubicBezTo>
                <a:cubicBezTo>
                  <a:pt x="60505" y="60619"/>
                  <a:pt x="60544" y="60543"/>
                  <a:pt x="60582" y="60505"/>
                </a:cubicBezTo>
                <a:cubicBezTo>
                  <a:pt x="60926" y="59625"/>
                  <a:pt x="61844" y="59204"/>
                  <a:pt x="62379" y="58439"/>
                </a:cubicBezTo>
                <a:cubicBezTo>
                  <a:pt x="62762" y="57827"/>
                  <a:pt x="63335" y="57368"/>
                  <a:pt x="63680" y="56718"/>
                </a:cubicBezTo>
                <a:cubicBezTo>
                  <a:pt x="63871" y="56336"/>
                  <a:pt x="64215" y="56068"/>
                  <a:pt x="64445" y="55686"/>
                </a:cubicBezTo>
                <a:cubicBezTo>
                  <a:pt x="64789" y="55150"/>
                  <a:pt x="65095" y="54615"/>
                  <a:pt x="65401" y="54079"/>
                </a:cubicBezTo>
                <a:cubicBezTo>
                  <a:pt x="65745" y="53429"/>
                  <a:pt x="66089" y="52702"/>
                  <a:pt x="66472" y="52052"/>
                </a:cubicBezTo>
                <a:cubicBezTo>
                  <a:pt x="66663" y="51708"/>
                  <a:pt x="66969" y="51440"/>
                  <a:pt x="66969" y="50981"/>
                </a:cubicBezTo>
                <a:cubicBezTo>
                  <a:pt x="66931" y="50867"/>
                  <a:pt x="67007" y="50675"/>
                  <a:pt x="67084" y="50637"/>
                </a:cubicBezTo>
                <a:cubicBezTo>
                  <a:pt x="67351" y="50522"/>
                  <a:pt x="67390" y="50293"/>
                  <a:pt x="67428" y="50063"/>
                </a:cubicBezTo>
                <a:cubicBezTo>
                  <a:pt x="67581" y="49528"/>
                  <a:pt x="67810" y="49069"/>
                  <a:pt x="68002" y="48572"/>
                </a:cubicBezTo>
                <a:cubicBezTo>
                  <a:pt x="68116" y="48266"/>
                  <a:pt x="68231" y="47960"/>
                  <a:pt x="68346" y="47692"/>
                </a:cubicBezTo>
                <a:cubicBezTo>
                  <a:pt x="68460" y="47310"/>
                  <a:pt x="68613" y="46966"/>
                  <a:pt x="68728" y="46621"/>
                </a:cubicBezTo>
                <a:cubicBezTo>
                  <a:pt x="68843" y="46277"/>
                  <a:pt x="68996" y="45933"/>
                  <a:pt x="68919" y="45589"/>
                </a:cubicBezTo>
                <a:cubicBezTo>
                  <a:pt x="68881" y="45168"/>
                  <a:pt x="69149" y="44977"/>
                  <a:pt x="69302" y="44709"/>
                </a:cubicBezTo>
                <a:cubicBezTo>
                  <a:pt x="69340" y="44594"/>
                  <a:pt x="69340" y="44441"/>
                  <a:pt x="69340" y="44327"/>
                </a:cubicBezTo>
                <a:cubicBezTo>
                  <a:pt x="69378" y="43944"/>
                  <a:pt x="69264" y="43447"/>
                  <a:pt x="69455" y="43141"/>
                </a:cubicBezTo>
                <a:cubicBezTo>
                  <a:pt x="69723" y="42682"/>
                  <a:pt x="69684" y="42223"/>
                  <a:pt x="69799" y="41764"/>
                </a:cubicBezTo>
                <a:cubicBezTo>
                  <a:pt x="70029" y="40578"/>
                  <a:pt x="70220" y="39431"/>
                  <a:pt x="70411" y="38245"/>
                </a:cubicBezTo>
                <a:cubicBezTo>
                  <a:pt x="70449" y="38092"/>
                  <a:pt x="70449" y="37939"/>
                  <a:pt x="70449" y="37786"/>
                </a:cubicBezTo>
                <a:cubicBezTo>
                  <a:pt x="70487" y="37251"/>
                  <a:pt x="70526" y="36716"/>
                  <a:pt x="70526" y="36180"/>
                </a:cubicBezTo>
                <a:cubicBezTo>
                  <a:pt x="70564" y="35339"/>
                  <a:pt x="70717" y="34536"/>
                  <a:pt x="70679" y="33694"/>
                </a:cubicBezTo>
                <a:cubicBezTo>
                  <a:pt x="70640" y="32929"/>
                  <a:pt x="70679" y="32203"/>
                  <a:pt x="70640" y="31438"/>
                </a:cubicBezTo>
                <a:cubicBezTo>
                  <a:pt x="70602" y="30787"/>
                  <a:pt x="70679" y="30137"/>
                  <a:pt x="70602" y="29487"/>
                </a:cubicBezTo>
                <a:cubicBezTo>
                  <a:pt x="70564" y="29066"/>
                  <a:pt x="70487" y="28646"/>
                  <a:pt x="70526" y="28187"/>
                </a:cubicBezTo>
                <a:cubicBezTo>
                  <a:pt x="70564" y="27766"/>
                  <a:pt x="69952" y="27460"/>
                  <a:pt x="70258" y="26963"/>
                </a:cubicBezTo>
                <a:cubicBezTo>
                  <a:pt x="69761" y="26580"/>
                  <a:pt x="70182" y="25854"/>
                  <a:pt x="69723" y="25471"/>
                </a:cubicBezTo>
                <a:cubicBezTo>
                  <a:pt x="69952" y="24859"/>
                  <a:pt x="69378" y="24477"/>
                  <a:pt x="69340" y="23941"/>
                </a:cubicBezTo>
                <a:cubicBezTo>
                  <a:pt x="69264" y="23406"/>
                  <a:pt x="68919" y="22947"/>
                  <a:pt x="68728" y="22450"/>
                </a:cubicBezTo>
                <a:cubicBezTo>
                  <a:pt x="68537" y="21914"/>
                  <a:pt x="68078" y="21494"/>
                  <a:pt x="68193" y="20843"/>
                </a:cubicBezTo>
                <a:cubicBezTo>
                  <a:pt x="68193" y="20805"/>
                  <a:pt x="68116" y="20729"/>
                  <a:pt x="68078" y="20652"/>
                </a:cubicBezTo>
                <a:cubicBezTo>
                  <a:pt x="67963" y="20537"/>
                  <a:pt x="67810" y="20385"/>
                  <a:pt x="67696" y="20232"/>
                </a:cubicBezTo>
                <a:cubicBezTo>
                  <a:pt x="67313" y="19696"/>
                  <a:pt x="67313" y="19008"/>
                  <a:pt x="66854" y="18510"/>
                </a:cubicBezTo>
                <a:cubicBezTo>
                  <a:pt x="66472" y="18090"/>
                  <a:pt x="66127" y="17707"/>
                  <a:pt x="65860" y="17210"/>
                </a:cubicBezTo>
                <a:cubicBezTo>
                  <a:pt x="65707" y="16942"/>
                  <a:pt x="65592" y="16598"/>
                  <a:pt x="65363" y="16407"/>
                </a:cubicBezTo>
                <a:cubicBezTo>
                  <a:pt x="64789" y="15910"/>
                  <a:pt x="64598" y="15183"/>
                  <a:pt x="63986" y="14724"/>
                </a:cubicBezTo>
                <a:cubicBezTo>
                  <a:pt x="63756" y="14533"/>
                  <a:pt x="63603" y="14189"/>
                  <a:pt x="63374" y="13921"/>
                </a:cubicBezTo>
                <a:cubicBezTo>
                  <a:pt x="63356" y="13922"/>
                  <a:pt x="63340" y="13923"/>
                  <a:pt x="63324" y="13923"/>
                </a:cubicBezTo>
                <a:cubicBezTo>
                  <a:pt x="62813" y="13923"/>
                  <a:pt x="63020" y="13341"/>
                  <a:pt x="62724" y="13156"/>
                </a:cubicBezTo>
                <a:cubicBezTo>
                  <a:pt x="62571" y="13080"/>
                  <a:pt x="62456" y="12965"/>
                  <a:pt x="62303" y="12850"/>
                </a:cubicBezTo>
                <a:cubicBezTo>
                  <a:pt x="62188" y="12774"/>
                  <a:pt x="62112" y="12621"/>
                  <a:pt x="61997" y="12506"/>
                </a:cubicBezTo>
                <a:cubicBezTo>
                  <a:pt x="61920" y="12391"/>
                  <a:pt x="61882" y="12200"/>
                  <a:pt x="61767" y="12123"/>
                </a:cubicBezTo>
                <a:cubicBezTo>
                  <a:pt x="61423" y="11894"/>
                  <a:pt x="61194" y="11511"/>
                  <a:pt x="60888" y="11205"/>
                </a:cubicBezTo>
                <a:cubicBezTo>
                  <a:pt x="60238" y="10594"/>
                  <a:pt x="59740" y="9829"/>
                  <a:pt x="59090" y="9217"/>
                </a:cubicBezTo>
                <a:cubicBezTo>
                  <a:pt x="58899" y="9025"/>
                  <a:pt x="58669" y="8834"/>
                  <a:pt x="58478" y="8643"/>
                </a:cubicBezTo>
                <a:cubicBezTo>
                  <a:pt x="58249" y="8452"/>
                  <a:pt x="57905" y="8261"/>
                  <a:pt x="57828" y="7993"/>
                </a:cubicBezTo>
                <a:cubicBezTo>
                  <a:pt x="57713" y="7610"/>
                  <a:pt x="57331" y="7572"/>
                  <a:pt x="57140" y="7304"/>
                </a:cubicBezTo>
                <a:cubicBezTo>
                  <a:pt x="56948" y="7075"/>
                  <a:pt x="56681" y="6884"/>
                  <a:pt x="56413" y="6692"/>
                </a:cubicBezTo>
                <a:cubicBezTo>
                  <a:pt x="56222" y="6539"/>
                  <a:pt x="56069" y="6310"/>
                  <a:pt x="55878" y="6272"/>
                </a:cubicBezTo>
                <a:cubicBezTo>
                  <a:pt x="55151" y="6195"/>
                  <a:pt x="54692" y="5660"/>
                  <a:pt x="54118" y="5316"/>
                </a:cubicBezTo>
                <a:cubicBezTo>
                  <a:pt x="54003" y="5277"/>
                  <a:pt x="53889" y="5201"/>
                  <a:pt x="53889" y="5124"/>
                </a:cubicBezTo>
                <a:cubicBezTo>
                  <a:pt x="53927" y="4665"/>
                  <a:pt x="53506" y="4627"/>
                  <a:pt x="53239" y="4474"/>
                </a:cubicBezTo>
                <a:cubicBezTo>
                  <a:pt x="52703" y="4168"/>
                  <a:pt x="52168" y="3824"/>
                  <a:pt x="51556" y="3671"/>
                </a:cubicBezTo>
                <a:cubicBezTo>
                  <a:pt x="50791" y="3403"/>
                  <a:pt x="50102" y="2983"/>
                  <a:pt x="49337" y="2715"/>
                </a:cubicBezTo>
                <a:cubicBezTo>
                  <a:pt x="48573" y="2447"/>
                  <a:pt x="47808" y="2141"/>
                  <a:pt x="47004" y="1912"/>
                </a:cubicBezTo>
                <a:cubicBezTo>
                  <a:pt x="46469" y="1797"/>
                  <a:pt x="45895" y="1644"/>
                  <a:pt x="45360" y="1491"/>
                </a:cubicBezTo>
                <a:cubicBezTo>
                  <a:pt x="44404" y="1300"/>
                  <a:pt x="43448" y="1070"/>
                  <a:pt x="42530" y="841"/>
                </a:cubicBezTo>
                <a:cubicBezTo>
                  <a:pt x="42434" y="817"/>
                  <a:pt x="42335" y="810"/>
                  <a:pt x="42234" y="810"/>
                </a:cubicBezTo>
                <a:cubicBezTo>
                  <a:pt x="42079" y="810"/>
                  <a:pt x="41921" y="827"/>
                  <a:pt x="41767" y="827"/>
                </a:cubicBezTo>
                <a:cubicBezTo>
                  <a:pt x="41544" y="827"/>
                  <a:pt x="41332" y="790"/>
                  <a:pt x="41153" y="611"/>
                </a:cubicBezTo>
                <a:cubicBezTo>
                  <a:pt x="41145" y="604"/>
                  <a:pt x="41136" y="601"/>
                  <a:pt x="41126" y="601"/>
                </a:cubicBezTo>
                <a:cubicBezTo>
                  <a:pt x="41086" y="601"/>
                  <a:pt x="41030" y="650"/>
                  <a:pt x="41000" y="650"/>
                </a:cubicBezTo>
                <a:cubicBezTo>
                  <a:pt x="40656" y="611"/>
                  <a:pt x="40311" y="611"/>
                  <a:pt x="40005" y="573"/>
                </a:cubicBezTo>
                <a:cubicBezTo>
                  <a:pt x="39631" y="539"/>
                  <a:pt x="39287" y="414"/>
                  <a:pt x="38946" y="414"/>
                </a:cubicBezTo>
                <a:cubicBezTo>
                  <a:pt x="38904" y="414"/>
                  <a:pt x="38862" y="416"/>
                  <a:pt x="38820" y="420"/>
                </a:cubicBezTo>
                <a:cubicBezTo>
                  <a:pt x="38752" y="427"/>
                  <a:pt x="38688" y="430"/>
                  <a:pt x="38627" y="430"/>
                </a:cubicBezTo>
                <a:cubicBezTo>
                  <a:pt x="38341" y="430"/>
                  <a:pt x="38115" y="362"/>
                  <a:pt x="37864" y="267"/>
                </a:cubicBezTo>
                <a:cubicBezTo>
                  <a:pt x="37749" y="229"/>
                  <a:pt x="37596" y="152"/>
                  <a:pt x="37519" y="152"/>
                </a:cubicBezTo>
                <a:cubicBezTo>
                  <a:pt x="37343" y="208"/>
                  <a:pt x="37167" y="228"/>
                  <a:pt x="36990" y="228"/>
                </a:cubicBezTo>
                <a:cubicBezTo>
                  <a:pt x="36568" y="228"/>
                  <a:pt x="36146" y="115"/>
                  <a:pt x="35723" y="115"/>
                </a:cubicBezTo>
                <a:cubicBezTo>
                  <a:pt x="35595" y="115"/>
                  <a:pt x="35467" y="125"/>
                  <a:pt x="35339" y="152"/>
                </a:cubicBezTo>
                <a:cubicBezTo>
                  <a:pt x="35328" y="164"/>
                  <a:pt x="35314" y="168"/>
                  <a:pt x="35298" y="168"/>
                </a:cubicBezTo>
                <a:cubicBezTo>
                  <a:pt x="35260" y="168"/>
                  <a:pt x="35214" y="141"/>
                  <a:pt x="35186" y="114"/>
                </a:cubicBezTo>
                <a:cubicBezTo>
                  <a:pt x="35110" y="114"/>
                  <a:pt x="34039" y="114"/>
                  <a:pt x="33963" y="152"/>
                </a:cubicBezTo>
                <a:cubicBezTo>
                  <a:pt x="33886" y="152"/>
                  <a:pt x="33810" y="169"/>
                  <a:pt x="33744" y="169"/>
                </a:cubicBezTo>
                <a:cubicBezTo>
                  <a:pt x="33712" y="169"/>
                  <a:pt x="33682" y="165"/>
                  <a:pt x="33657" y="152"/>
                </a:cubicBezTo>
                <a:cubicBezTo>
                  <a:pt x="33462" y="39"/>
                  <a:pt x="33267" y="1"/>
                  <a:pt x="33072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4" name="Google Shape;114;p15"/>
          <p:cNvSpPr/>
          <p:nvPr/>
        </p:nvSpPr>
        <p:spPr>
          <a:xfrm>
            <a:off x="3130857" y="3604591"/>
            <a:ext cx="14280" cy="11435"/>
          </a:xfrm>
          <a:custGeom>
            <a:avLst/>
            <a:gdLst/>
            <a:ahLst/>
            <a:cxnLst/>
            <a:rect l="l" t="t" r="r" b="b"/>
            <a:pathLst>
              <a:path w="522" h="418" extrusionOk="0">
                <a:moveTo>
                  <a:pt x="161" y="0"/>
                </a:moveTo>
                <a:cubicBezTo>
                  <a:pt x="69" y="0"/>
                  <a:pt x="0" y="31"/>
                  <a:pt x="25" y="201"/>
                </a:cubicBezTo>
                <a:cubicBezTo>
                  <a:pt x="114" y="321"/>
                  <a:pt x="204" y="417"/>
                  <a:pt x="330" y="417"/>
                </a:cubicBezTo>
                <a:cubicBezTo>
                  <a:pt x="365" y="417"/>
                  <a:pt x="403" y="409"/>
                  <a:pt x="445" y="393"/>
                </a:cubicBezTo>
                <a:cubicBezTo>
                  <a:pt x="522" y="201"/>
                  <a:pt x="522" y="48"/>
                  <a:pt x="331" y="10"/>
                </a:cubicBezTo>
                <a:cubicBezTo>
                  <a:pt x="275" y="10"/>
                  <a:pt x="214" y="0"/>
                  <a:pt x="161" y="0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5" name="Google Shape;115;p15"/>
          <p:cNvSpPr/>
          <p:nvPr/>
        </p:nvSpPr>
        <p:spPr>
          <a:xfrm>
            <a:off x="-6267" y="1196521"/>
            <a:ext cx="1264972" cy="1360775"/>
          </a:xfrm>
          <a:custGeom>
            <a:avLst/>
            <a:gdLst/>
            <a:ahLst/>
            <a:cxnLst/>
            <a:rect l="l" t="t" r="r" b="b"/>
            <a:pathLst>
              <a:path w="46240" h="49742" extrusionOk="0">
                <a:moveTo>
                  <a:pt x="21173" y="0"/>
                </a:moveTo>
                <a:cubicBezTo>
                  <a:pt x="20593" y="0"/>
                  <a:pt x="20014" y="222"/>
                  <a:pt x="19434" y="222"/>
                </a:cubicBezTo>
                <a:cubicBezTo>
                  <a:pt x="19305" y="222"/>
                  <a:pt x="19176" y="211"/>
                  <a:pt x="19046" y="184"/>
                </a:cubicBezTo>
                <a:cubicBezTo>
                  <a:pt x="18473" y="452"/>
                  <a:pt x="17823" y="490"/>
                  <a:pt x="17211" y="681"/>
                </a:cubicBezTo>
                <a:cubicBezTo>
                  <a:pt x="16713" y="873"/>
                  <a:pt x="16102" y="758"/>
                  <a:pt x="15604" y="1064"/>
                </a:cubicBezTo>
                <a:cubicBezTo>
                  <a:pt x="14457" y="1064"/>
                  <a:pt x="13386" y="1561"/>
                  <a:pt x="12392" y="2020"/>
                </a:cubicBezTo>
                <a:cubicBezTo>
                  <a:pt x="11436" y="2441"/>
                  <a:pt x="10479" y="2938"/>
                  <a:pt x="9638" y="3550"/>
                </a:cubicBezTo>
                <a:cubicBezTo>
                  <a:pt x="9256" y="3817"/>
                  <a:pt x="8758" y="3932"/>
                  <a:pt x="8414" y="4238"/>
                </a:cubicBezTo>
                <a:cubicBezTo>
                  <a:pt x="7879" y="4659"/>
                  <a:pt x="7305" y="5041"/>
                  <a:pt x="6846" y="5577"/>
                </a:cubicBezTo>
                <a:cubicBezTo>
                  <a:pt x="6693" y="5768"/>
                  <a:pt x="6425" y="5845"/>
                  <a:pt x="6349" y="6112"/>
                </a:cubicBezTo>
                <a:cubicBezTo>
                  <a:pt x="6234" y="6380"/>
                  <a:pt x="5928" y="6265"/>
                  <a:pt x="5775" y="6456"/>
                </a:cubicBezTo>
                <a:cubicBezTo>
                  <a:pt x="5431" y="6801"/>
                  <a:pt x="4934" y="7068"/>
                  <a:pt x="4704" y="7451"/>
                </a:cubicBezTo>
                <a:cubicBezTo>
                  <a:pt x="4437" y="7833"/>
                  <a:pt x="3901" y="7986"/>
                  <a:pt x="3786" y="8483"/>
                </a:cubicBezTo>
                <a:cubicBezTo>
                  <a:pt x="3786" y="8514"/>
                  <a:pt x="3711" y="8570"/>
                  <a:pt x="3662" y="8570"/>
                </a:cubicBezTo>
                <a:cubicBezTo>
                  <a:pt x="3651" y="8570"/>
                  <a:pt x="3641" y="8567"/>
                  <a:pt x="3633" y="8560"/>
                </a:cubicBezTo>
                <a:cubicBezTo>
                  <a:pt x="3563" y="8525"/>
                  <a:pt x="3507" y="8510"/>
                  <a:pt x="3462" y="8510"/>
                </a:cubicBezTo>
                <a:cubicBezTo>
                  <a:pt x="3308" y="8510"/>
                  <a:pt x="3272" y="8680"/>
                  <a:pt x="3213" y="8828"/>
                </a:cubicBezTo>
                <a:cubicBezTo>
                  <a:pt x="2983" y="9248"/>
                  <a:pt x="2945" y="9784"/>
                  <a:pt x="2409" y="9975"/>
                </a:cubicBezTo>
                <a:cubicBezTo>
                  <a:pt x="2333" y="10013"/>
                  <a:pt x="2257" y="10166"/>
                  <a:pt x="2257" y="10243"/>
                </a:cubicBezTo>
                <a:cubicBezTo>
                  <a:pt x="2180" y="10549"/>
                  <a:pt x="2257" y="10931"/>
                  <a:pt x="1759" y="10931"/>
                </a:cubicBezTo>
                <a:cubicBezTo>
                  <a:pt x="1798" y="11314"/>
                  <a:pt x="1453" y="11390"/>
                  <a:pt x="1262" y="11581"/>
                </a:cubicBezTo>
                <a:cubicBezTo>
                  <a:pt x="1300" y="11734"/>
                  <a:pt x="1300" y="11849"/>
                  <a:pt x="1339" y="12002"/>
                </a:cubicBezTo>
                <a:cubicBezTo>
                  <a:pt x="1224" y="12079"/>
                  <a:pt x="1109" y="12117"/>
                  <a:pt x="994" y="12155"/>
                </a:cubicBezTo>
                <a:cubicBezTo>
                  <a:pt x="994" y="12308"/>
                  <a:pt x="1033" y="12461"/>
                  <a:pt x="1033" y="12652"/>
                </a:cubicBezTo>
                <a:cubicBezTo>
                  <a:pt x="727" y="12652"/>
                  <a:pt x="535" y="12767"/>
                  <a:pt x="497" y="13111"/>
                </a:cubicBezTo>
                <a:cubicBezTo>
                  <a:pt x="459" y="13341"/>
                  <a:pt x="421" y="13570"/>
                  <a:pt x="306" y="13723"/>
                </a:cubicBezTo>
                <a:cubicBezTo>
                  <a:pt x="191" y="13914"/>
                  <a:pt x="76" y="14067"/>
                  <a:pt x="0" y="14220"/>
                </a:cubicBezTo>
                <a:lnTo>
                  <a:pt x="0" y="34606"/>
                </a:lnTo>
                <a:cubicBezTo>
                  <a:pt x="153" y="34950"/>
                  <a:pt x="344" y="35294"/>
                  <a:pt x="268" y="35715"/>
                </a:cubicBezTo>
                <a:cubicBezTo>
                  <a:pt x="459" y="35868"/>
                  <a:pt x="688" y="36021"/>
                  <a:pt x="688" y="36135"/>
                </a:cubicBezTo>
                <a:cubicBezTo>
                  <a:pt x="650" y="36594"/>
                  <a:pt x="1109" y="36862"/>
                  <a:pt x="1147" y="37283"/>
                </a:cubicBezTo>
                <a:cubicBezTo>
                  <a:pt x="1147" y="37474"/>
                  <a:pt x="1377" y="37665"/>
                  <a:pt x="1568" y="37818"/>
                </a:cubicBezTo>
                <a:cubicBezTo>
                  <a:pt x="1759" y="38009"/>
                  <a:pt x="1989" y="38162"/>
                  <a:pt x="1989" y="38468"/>
                </a:cubicBezTo>
                <a:cubicBezTo>
                  <a:pt x="1989" y="38621"/>
                  <a:pt x="2104" y="38736"/>
                  <a:pt x="2218" y="38851"/>
                </a:cubicBezTo>
                <a:cubicBezTo>
                  <a:pt x="2257" y="38966"/>
                  <a:pt x="2371" y="39042"/>
                  <a:pt x="2409" y="39119"/>
                </a:cubicBezTo>
                <a:cubicBezTo>
                  <a:pt x="2639" y="39501"/>
                  <a:pt x="2830" y="39883"/>
                  <a:pt x="3060" y="40266"/>
                </a:cubicBezTo>
                <a:cubicBezTo>
                  <a:pt x="3213" y="40534"/>
                  <a:pt x="3404" y="40763"/>
                  <a:pt x="3595" y="40993"/>
                </a:cubicBezTo>
                <a:cubicBezTo>
                  <a:pt x="3748" y="41184"/>
                  <a:pt x="4092" y="41375"/>
                  <a:pt x="4092" y="41566"/>
                </a:cubicBezTo>
                <a:cubicBezTo>
                  <a:pt x="4131" y="41987"/>
                  <a:pt x="4590" y="41872"/>
                  <a:pt x="4704" y="42102"/>
                </a:cubicBezTo>
                <a:cubicBezTo>
                  <a:pt x="4743" y="42178"/>
                  <a:pt x="4781" y="42216"/>
                  <a:pt x="4819" y="42293"/>
                </a:cubicBezTo>
                <a:cubicBezTo>
                  <a:pt x="5393" y="43364"/>
                  <a:pt x="6502" y="43899"/>
                  <a:pt x="7343" y="44664"/>
                </a:cubicBezTo>
                <a:cubicBezTo>
                  <a:pt x="7458" y="44779"/>
                  <a:pt x="7726" y="44626"/>
                  <a:pt x="7764" y="44970"/>
                </a:cubicBezTo>
                <a:cubicBezTo>
                  <a:pt x="7764" y="45047"/>
                  <a:pt x="8146" y="45085"/>
                  <a:pt x="8338" y="45200"/>
                </a:cubicBezTo>
                <a:cubicBezTo>
                  <a:pt x="9179" y="45735"/>
                  <a:pt x="10059" y="46271"/>
                  <a:pt x="10938" y="46768"/>
                </a:cubicBezTo>
                <a:cubicBezTo>
                  <a:pt x="11780" y="47265"/>
                  <a:pt x="12698" y="47647"/>
                  <a:pt x="13539" y="48145"/>
                </a:cubicBezTo>
                <a:cubicBezTo>
                  <a:pt x="14036" y="48489"/>
                  <a:pt x="14686" y="48451"/>
                  <a:pt x="15222" y="48795"/>
                </a:cubicBezTo>
                <a:cubicBezTo>
                  <a:pt x="15566" y="48986"/>
                  <a:pt x="16063" y="49024"/>
                  <a:pt x="16484" y="49063"/>
                </a:cubicBezTo>
                <a:cubicBezTo>
                  <a:pt x="16905" y="49139"/>
                  <a:pt x="17325" y="49139"/>
                  <a:pt x="17746" y="49139"/>
                </a:cubicBezTo>
                <a:cubicBezTo>
                  <a:pt x="18090" y="49177"/>
                  <a:pt x="18435" y="49369"/>
                  <a:pt x="18779" y="49407"/>
                </a:cubicBezTo>
                <a:cubicBezTo>
                  <a:pt x="19582" y="49521"/>
                  <a:pt x="20423" y="49330"/>
                  <a:pt x="21188" y="49674"/>
                </a:cubicBezTo>
                <a:cubicBezTo>
                  <a:pt x="21409" y="49601"/>
                  <a:pt x="21624" y="49578"/>
                  <a:pt x="21835" y="49578"/>
                </a:cubicBezTo>
                <a:cubicBezTo>
                  <a:pt x="22174" y="49578"/>
                  <a:pt x="22503" y="49636"/>
                  <a:pt x="22833" y="49636"/>
                </a:cubicBezTo>
                <a:cubicBezTo>
                  <a:pt x="22919" y="49630"/>
                  <a:pt x="23005" y="49628"/>
                  <a:pt x="23092" y="49628"/>
                </a:cubicBezTo>
                <a:cubicBezTo>
                  <a:pt x="23429" y="49628"/>
                  <a:pt x="23766" y="49663"/>
                  <a:pt x="24104" y="49663"/>
                </a:cubicBezTo>
                <a:cubicBezTo>
                  <a:pt x="24254" y="49663"/>
                  <a:pt x="24404" y="49656"/>
                  <a:pt x="24554" y="49636"/>
                </a:cubicBezTo>
                <a:cubicBezTo>
                  <a:pt x="24724" y="49615"/>
                  <a:pt x="24918" y="49558"/>
                  <a:pt x="25110" y="49558"/>
                </a:cubicBezTo>
                <a:cubicBezTo>
                  <a:pt x="25262" y="49558"/>
                  <a:pt x="25413" y="49594"/>
                  <a:pt x="25548" y="49713"/>
                </a:cubicBezTo>
                <a:cubicBezTo>
                  <a:pt x="25567" y="49732"/>
                  <a:pt x="25615" y="49741"/>
                  <a:pt x="25658" y="49741"/>
                </a:cubicBezTo>
                <a:cubicBezTo>
                  <a:pt x="25701" y="49741"/>
                  <a:pt x="25740" y="49732"/>
                  <a:pt x="25740" y="49713"/>
                </a:cubicBezTo>
                <a:cubicBezTo>
                  <a:pt x="25873" y="49541"/>
                  <a:pt x="26026" y="49493"/>
                  <a:pt x="26189" y="49493"/>
                </a:cubicBezTo>
                <a:cubicBezTo>
                  <a:pt x="26351" y="49493"/>
                  <a:pt x="26524" y="49541"/>
                  <a:pt x="26696" y="49560"/>
                </a:cubicBezTo>
                <a:cubicBezTo>
                  <a:pt x="26810" y="49560"/>
                  <a:pt x="27040" y="49521"/>
                  <a:pt x="27078" y="49445"/>
                </a:cubicBezTo>
                <a:cubicBezTo>
                  <a:pt x="27308" y="49063"/>
                  <a:pt x="27690" y="49177"/>
                  <a:pt x="27996" y="49101"/>
                </a:cubicBezTo>
                <a:cubicBezTo>
                  <a:pt x="28011" y="49097"/>
                  <a:pt x="28026" y="49095"/>
                  <a:pt x="28041" y="49095"/>
                </a:cubicBezTo>
                <a:cubicBezTo>
                  <a:pt x="28108" y="49095"/>
                  <a:pt x="28173" y="49125"/>
                  <a:pt x="28235" y="49125"/>
                </a:cubicBezTo>
                <a:cubicBezTo>
                  <a:pt x="28301" y="49125"/>
                  <a:pt x="28363" y="49091"/>
                  <a:pt x="28417" y="48948"/>
                </a:cubicBezTo>
                <a:cubicBezTo>
                  <a:pt x="28447" y="48878"/>
                  <a:pt x="28479" y="48853"/>
                  <a:pt x="28514" y="48853"/>
                </a:cubicBezTo>
                <a:cubicBezTo>
                  <a:pt x="28613" y="48853"/>
                  <a:pt x="28734" y="49063"/>
                  <a:pt x="28876" y="49063"/>
                </a:cubicBezTo>
                <a:cubicBezTo>
                  <a:pt x="28914" y="49063"/>
                  <a:pt x="28952" y="49024"/>
                  <a:pt x="28990" y="48986"/>
                </a:cubicBezTo>
                <a:cubicBezTo>
                  <a:pt x="29373" y="48718"/>
                  <a:pt x="29832" y="48680"/>
                  <a:pt x="30253" y="48565"/>
                </a:cubicBezTo>
                <a:cubicBezTo>
                  <a:pt x="30597" y="48489"/>
                  <a:pt x="31056" y="48604"/>
                  <a:pt x="31285" y="48145"/>
                </a:cubicBezTo>
                <a:cubicBezTo>
                  <a:pt x="31314" y="48149"/>
                  <a:pt x="31343" y="48152"/>
                  <a:pt x="31371" y="48152"/>
                </a:cubicBezTo>
                <a:cubicBezTo>
                  <a:pt x="31709" y="48152"/>
                  <a:pt x="31969" y="47822"/>
                  <a:pt x="32289" y="47822"/>
                </a:cubicBezTo>
                <a:cubicBezTo>
                  <a:pt x="32359" y="47822"/>
                  <a:pt x="32432" y="47838"/>
                  <a:pt x="32509" y="47877"/>
                </a:cubicBezTo>
                <a:cubicBezTo>
                  <a:pt x="32531" y="47888"/>
                  <a:pt x="32557" y="47893"/>
                  <a:pt x="32583" y="47893"/>
                </a:cubicBezTo>
                <a:cubicBezTo>
                  <a:pt x="32646" y="47893"/>
                  <a:pt x="32712" y="47866"/>
                  <a:pt x="32739" y="47839"/>
                </a:cubicBezTo>
                <a:cubicBezTo>
                  <a:pt x="32968" y="47494"/>
                  <a:pt x="33350" y="47533"/>
                  <a:pt x="33656" y="47418"/>
                </a:cubicBezTo>
                <a:cubicBezTo>
                  <a:pt x="33848" y="47380"/>
                  <a:pt x="34001" y="47150"/>
                  <a:pt x="34192" y="47112"/>
                </a:cubicBezTo>
                <a:cubicBezTo>
                  <a:pt x="34536" y="47074"/>
                  <a:pt x="34842" y="46997"/>
                  <a:pt x="34957" y="46653"/>
                </a:cubicBezTo>
                <a:cubicBezTo>
                  <a:pt x="34957" y="46577"/>
                  <a:pt x="35072" y="46538"/>
                  <a:pt x="35148" y="46538"/>
                </a:cubicBezTo>
                <a:cubicBezTo>
                  <a:pt x="35215" y="46563"/>
                  <a:pt x="35276" y="46573"/>
                  <a:pt x="35332" y="46573"/>
                </a:cubicBezTo>
                <a:cubicBezTo>
                  <a:pt x="35629" y="46573"/>
                  <a:pt x="35784" y="46272"/>
                  <a:pt x="35913" y="46079"/>
                </a:cubicBezTo>
                <a:cubicBezTo>
                  <a:pt x="36066" y="45812"/>
                  <a:pt x="36334" y="45659"/>
                  <a:pt x="36563" y="45506"/>
                </a:cubicBezTo>
                <a:cubicBezTo>
                  <a:pt x="36907" y="45238"/>
                  <a:pt x="37213" y="45008"/>
                  <a:pt x="37519" y="44741"/>
                </a:cubicBezTo>
                <a:cubicBezTo>
                  <a:pt x="37634" y="44626"/>
                  <a:pt x="37672" y="44397"/>
                  <a:pt x="37825" y="44320"/>
                </a:cubicBezTo>
                <a:cubicBezTo>
                  <a:pt x="38590" y="43823"/>
                  <a:pt x="39240" y="43173"/>
                  <a:pt x="39929" y="42522"/>
                </a:cubicBezTo>
                <a:cubicBezTo>
                  <a:pt x="40235" y="42216"/>
                  <a:pt x="40617" y="41949"/>
                  <a:pt x="40847" y="41605"/>
                </a:cubicBezTo>
                <a:cubicBezTo>
                  <a:pt x="41191" y="41031"/>
                  <a:pt x="41612" y="40534"/>
                  <a:pt x="41918" y="39960"/>
                </a:cubicBezTo>
                <a:cubicBezTo>
                  <a:pt x="42377" y="39195"/>
                  <a:pt x="42797" y="38468"/>
                  <a:pt x="43141" y="37627"/>
                </a:cubicBezTo>
                <a:cubicBezTo>
                  <a:pt x="43256" y="37397"/>
                  <a:pt x="43371" y="37206"/>
                  <a:pt x="43486" y="36977"/>
                </a:cubicBezTo>
                <a:cubicBezTo>
                  <a:pt x="43600" y="36747"/>
                  <a:pt x="43562" y="36480"/>
                  <a:pt x="43868" y="36327"/>
                </a:cubicBezTo>
                <a:cubicBezTo>
                  <a:pt x="44021" y="36212"/>
                  <a:pt x="43983" y="35868"/>
                  <a:pt x="44098" y="35638"/>
                </a:cubicBezTo>
                <a:cubicBezTo>
                  <a:pt x="44327" y="35026"/>
                  <a:pt x="44633" y="34453"/>
                  <a:pt x="44824" y="33841"/>
                </a:cubicBezTo>
                <a:cubicBezTo>
                  <a:pt x="44939" y="33496"/>
                  <a:pt x="45130" y="33152"/>
                  <a:pt x="44977" y="32731"/>
                </a:cubicBezTo>
                <a:cubicBezTo>
                  <a:pt x="44901" y="32540"/>
                  <a:pt x="45016" y="32158"/>
                  <a:pt x="45168" y="32043"/>
                </a:cubicBezTo>
                <a:cubicBezTo>
                  <a:pt x="45398" y="31890"/>
                  <a:pt x="45360" y="31775"/>
                  <a:pt x="45398" y="31584"/>
                </a:cubicBezTo>
                <a:cubicBezTo>
                  <a:pt x="45513" y="31087"/>
                  <a:pt x="45360" y="30551"/>
                  <a:pt x="45551" y="30092"/>
                </a:cubicBezTo>
                <a:cubicBezTo>
                  <a:pt x="45627" y="29901"/>
                  <a:pt x="45742" y="29672"/>
                  <a:pt x="45742" y="29481"/>
                </a:cubicBezTo>
                <a:cubicBezTo>
                  <a:pt x="45704" y="28830"/>
                  <a:pt x="45704" y="28180"/>
                  <a:pt x="45972" y="27530"/>
                </a:cubicBezTo>
                <a:cubicBezTo>
                  <a:pt x="46048" y="27301"/>
                  <a:pt x="46125" y="26956"/>
                  <a:pt x="46048" y="26803"/>
                </a:cubicBezTo>
                <a:cubicBezTo>
                  <a:pt x="45857" y="26230"/>
                  <a:pt x="46125" y="25694"/>
                  <a:pt x="46125" y="25121"/>
                </a:cubicBezTo>
                <a:cubicBezTo>
                  <a:pt x="46125" y="24738"/>
                  <a:pt x="46239" y="24279"/>
                  <a:pt x="46086" y="23935"/>
                </a:cubicBezTo>
                <a:cubicBezTo>
                  <a:pt x="45895" y="23476"/>
                  <a:pt x="45895" y="23093"/>
                  <a:pt x="45972" y="22596"/>
                </a:cubicBezTo>
                <a:cubicBezTo>
                  <a:pt x="46010" y="22367"/>
                  <a:pt x="46163" y="22099"/>
                  <a:pt x="45972" y="21793"/>
                </a:cubicBezTo>
                <a:cubicBezTo>
                  <a:pt x="45895" y="21678"/>
                  <a:pt x="45933" y="21449"/>
                  <a:pt x="45933" y="21296"/>
                </a:cubicBezTo>
                <a:cubicBezTo>
                  <a:pt x="45895" y="21028"/>
                  <a:pt x="45895" y="20799"/>
                  <a:pt x="45857" y="20569"/>
                </a:cubicBezTo>
                <a:cubicBezTo>
                  <a:pt x="45780" y="20072"/>
                  <a:pt x="45589" y="19613"/>
                  <a:pt x="45589" y="19154"/>
                </a:cubicBezTo>
                <a:cubicBezTo>
                  <a:pt x="45589" y="18886"/>
                  <a:pt x="45627" y="18733"/>
                  <a:pt x="45398" y="18466"/>
                </a:cubicBezTo>
                <a:cubicBezTo>
                  <a:pt x="45207" y="18236"/>
                  <a:pt x="45207" y="17854"/>
                  <a:pt x="45130" y="17510"/>
                </a:cubicBezTo>
                <a:cubicBezTo>
                  <a:pt x="44901" y="16745"/>
                  <a:pt x="44365" y="16056"/>
                  <a:pt x="44289" y="15215"/>
                </a:cubicBezTo>
                <a:cubicBezTo>
                  <a:pt x="44289" y="15177"/>
                  <a:pt x="44251" y="15100"/>
                  <a:pt x="44212" y="15100"/>
                </a:cubicBezTo>
                <a:cubicBezTo>
                  <a:pt x="43868" y="14947"/>
                  <a:pt x="43906" y="14603"/>
                  <a:pt x="43792" y="14335"/>
                </a:cubicBezTo>
                <a:cubicBezTo>
                  <a:pt x="43639" y="13953"/>
                  <a:pt x="43524" y="13455"/>
                  <a:pt x="43256" y="13226"/>
                </a:cubicBezTo>
                <a:cubicBezTo>
                  <a:pt x="42721" y="12767"/>
                  <a:pt x="42874" y="12040"/>
                  <a:pt x="42338" y="11620"/>
                </a:cubicBezTo>
                <a:cubicBezTo>
                  <a:pt x="42224" y="11543"/>
                  <a:pt x="42300" y="11199"/>
                  <a:pt x="42185" y="11122"/>
                </a:cubicBezTo>
                <a:cubicBezTo>
                  <a:pt x="41497" y="10549"/>
                  <a:pt x="41038" y="9860"/>
                  <a:pt x="40541" y="9172"/>
                </a:cubicBezTo>
                <a:cubicBezTo>
                  <a:pt x="40311" y="8828"/>
                  <a:pt x="39967" y="8522"/>
                  <a:pt x="39661" y="8216"/>
                </a:cubicBezTo>
                <a:cubicBezTo>
                  <a:pt x="39393" y="7910"/>
                  <a:pt x="39164" y="7566"/>
                  <a:pt x="38858" y="7260"/>
                </a:cubicBezTo>
                <a:cubicBezTo>
                  <a:pt x="38284" y="6648"/>
                  <a:pt x="37787" y="6036"/>
                  <a:pt x="37099" y="5539"/>
                </a:cubicBezTo>
                <a:cubicBezTo>
                  <a:pt x="36793" y="5309"/>
                  <a:pt x="36487" y="5118"/>
                  <a:pt x="36181" y="4888"/>
                </a:cubicBezTo>
                <a:cubicBezTo>
                  <a:pt x="35875" y="4659"/>
                  <a:pt x="35607" y="4429"/>
                  <a:pt x="35339" y="4200"/>
                </a:cubicBezTo>
                <a:cubicBezTo>
                  <a:pt x="35225" y="4123"/>
                  <a:pt x="35110" y="4047"/>
                  <a:pt x="34995" y="4009"/>
                </a:cubicBezTo>
                <a:cubicBezTo>
                  <a:pt x="34766" y="3932"/>
                  <a:pt x="34498" y="4009"/>
                  <a:pt x="34345" y="3741"/>
                </a:cubicBezTo>
                <a:cubicBezTo>
                  <a:pt x="34230" y="3588"/>
                  <a:pt x="33924" y="3779"/>
                  <a:pt x="33848" y="3435"/>
                </a:cubicBezTo>
                <a:cubicBezTo>
                  <a:pt x="33809" y="3282"/>
                  <a:pt x="33389" y="3244"/>
                  <a:pt x="33159" y="3129"/>
                </a:cubicBezTo>
                <a:cubicBezTo>
                  <a:pt x="33016" y="3058"/>
                  <a:pt x="32907" y="2819"/>
                  <a:pt x="32831" y="2819"/>
                </a:cubicBezTo>
                <a:cubicBezTo>
                  <a:pt x="32825" y="2819"/>
                  <a:pt x="32820" y="2821"/>
                  <a:pt x="32815" y="2823"/>
                </a:cubicBezTo>
                <a:cubicBezTo>
                  <a:pt x="32745" y="2842"/>
                  <a:pt x="32681" y="2851"/>
                  <a:pt x="32623" y="2851"/>
                </a:cubicBezTo>
                <a:cubicBezTo>
                  <a:pt x="32330" y="2851"/>
                  <a:pt x="32165" y="2638"/>
                  <a:pt x="31974" y="2479"/>
                </a:cubicBezTo>
                <a:cubicBezTo>
                  <a:pt x="31782" y="2326"/>
                  <a:pt x="31553" y="2249"/>
                  <a:pt x="31323" y="2173"/>
                </a:cubicBezTo>
                <a:cubicBezTo>
                  <a:pt x="30903" y="2020"/>
                  <a:pt x="30444" y="1982"/>
                  <a:pt x="30061" y="1829"/>
                </a:cubicBezTo>
                <a:cubicBezTo>
                  <a:pt x="29794" y="1714"/>
                  <a:pt x="29526" y="1523"/>
                  <a:pt x="29143" y="1446"/>
                </a:cubicBezTo>
                <a:cubicBezTo>
                  <a:pt x="28608" y="1370"/>
                  <a:pt x="28073" y="1140"/>
                  <a:pt x="27499" y="949"/>
                </a:cubicBezTo>
                <a:cubicBezTo>
                  <a:pt x="27002" y="796"/>
                  <a:pt x="26390" y="949"/>
                  <a:pt x="25893" y="528"/>
                </a:cubicBezTo>
                <a:cubicBezTo>
                  <a:pt x="25867" y="528"/>
                  <a:pt x="25808" y="511"/>
                  <a:pt x="25759" y="511"/>
                </a:cubicBezTo>
                <a:cubicBezTo>
                  <a:pt x="25735" y="511"/>
                  <a:pt x="25714" y="516"/>
                  <a:pt x="25701" y="528"/>
                </a:cubicBezTo>
                <a:cubicBezTo>
                  <a:pt x="25622" y="581"/>
                  <a:pt x="25547" y="602"/>
                  <a:pt x="25476" y="602"/>
                </a:cubicBezTo>
                <a:cubicBezTo>
                  <a:pt x="25340" y="602"/>
                  <a:pt x="25215" y="527"/>
                  <a:pt x="25089" y="452"/>
                </a:cubicBezTo>
                <a:cubicBezTo>
                  <a:pt x="24783" y="375"/>
                  <a:pt x="24477" y="261"/>
                  <a:pt x="24171" y="222"/>
                </a:cubicBezTo>
                <a:cubicBezTo>
                  <a:pt x="23865" y="222"/>
                  <a:pt x="23560" y="271"/>
                  <a:pt x="23254" y="271"/>
                </a:cubicBezTo>
                <a:cubicBezTo>
                  <a:pt x="23177" y="271"/>
                  <a:pt x="23101" y="268"/>
                  <a:pt x="23024" y="261"/>
                </a:cubicBezTo>
                <a:cubicBezTo>
                  <a:pt x="22705" y="202"/>
                  <a:pt x="22407" y="56"/>
                  <a:pt x="22098" y="56"/>
                </a:cubicBezTo>
                <a:cubicBezTo>
                  <a:pt x="22000" y="56"/>
                  <a:pt x="21901" y="71"/>
                  <a:pt x="21800" y="108"/>
                </a:cubicBezTo>
                <a:cubicBezTo>
                  <a:pt x="21591" y="29"/>
                  <a:pt x="21382" y="0"/>
                  <a:pt x="21173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  <a:alpha val="3631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16" name="Google Shape;116;p15"/>
          <p:cNvSpPr/>
          <p:nvPr/>
        </p:nvSpPr>
        <p:spPr>
          <a:xfrm>
            <a:off x="1260757" y="2756315"/>
            <a:ext cx="1095" cy="1067"/>
          </a:xfrm>
          <a:custGeom>
            <a:avLst/>
            <a:gdLst/>
            <a:ahLst/>
            <a:cxnLst/>
            <a:rect l="l" t="t" r="r" b="b"/>
            <a:pathLst>
              <a:path w="40" h="39" extrusionOk="0">
                <a:moveTo>
                  <a:pt x="1" y="1"/>
                </a:moveTo>
                <a:cubicBezTo>
                  <a:pt x="1" y="1"/>
                  <a:pt x="1" y="39"/>
                  <a:pt x="1" y="39"/>
                </a:cubicBezTo>
                <a:cubicBezTo>
                  <a:pt x="39" y="39"/>
                  <a:pt x="1" y="1"/>
                  <a:pt x="1" y="1"/>
                </a:cubicBezTo>
                <a:close/>
              </a:path>
            </a:pathLst>
          </a:custGeom>
          <a:solidFill>
            <a:srgbClr val="222F3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E808F2-D8AB-386E-0C87-5E08C8389183}"/>
              </a:ext>
            </a:extLst>
          </p:cNvPr>
          <p:cNvSpPr txBox="1"/>
          <p:nvPr/>
        </p:nvSpPr>
        <p:spPr>
          <a:xfrm>
            <a:off x="1399948" y="2628695"/>
            <a:ext cx="965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Century Gothic" panose="020B0502020202020204" pitchFamily="34" charset="0"/>
              </a:rPr>
              <a:t>CRB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06D5F1-B35E-AF9F-3C64-2F8071FF164B}"/>
              </a:ext>
            </a:extLst>
          </p:cNvPr>
          <p:cNvSpPr txBox="1"/>
          <p:nvPr/>
        </p:nvSpPr>
        <p:spPr>
          <a:xfrm>
            <a:off x="5455" y="4500253"/>
            <a:ext cx="178942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latin typeface="Century Gothic"/>
              </a:rPr>
              <a:t>Banks/MFBs</a:t>
            </a:r>
            <a:endParaRPr lang="en-US" b="1">
              <a:latin typeface="Century Gothic" panose="020B0502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115C1D-BACA-38D4-5DAE-49F3CA366FCD}"/>
              </a:ext>
            </a:extLst>
          </p:cNvPr>
          <p:cNvSpPr txBox="1"/>
          <p:nvPr/>
        </p:nvSpPr>
        <p:spPr>
          <a:xfrm>
            <a:off x="-40824" y="1801013"/>
            <a:ext cx="103687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latin typeface="Century Gothic"/>
              </a:rPr>
              <a:t>MFIs</a:t>
            </a:r>
            <a:endParaRPr lang="en-US" b="1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447ADF-9466-B80D-0425-544EBABA499C}"/>
              </a:ext>
            </a:extLst>
          </p:cNvPr>
          <p:cNvSpPr txBox="1"/>
          <p:nvPr/>
        </p:nvSpPr>
        <p:spPr>
          <a:xfrm>
            <a:off x="3130857" y="2485075"/>
            <a:ext cx="1211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err="1">
                <a:latin typeface="Century Gothic" panose="020B0502020202020204" pitchFamily="34" charset="0"/>
              </a:rPr>
              <a:t>FinTechs</a:t>
            </a:r>
            <a:endParaRPr lang="en-US" b="1">
              <a:latin typeface="Century Gothic" panose="020B0502020202020204" pitchFamily="34" charset="0"/>
            </a:endParaRPr>
          </a:p>
        </p:txBody>
      </p:sp>
      <p:sp>
        <p:nvSpPr>
          <p:cNvPr id="12" name="Google Shape;115;p15">
            <a:extLst>
              <a:ext uri="{FF2B5EF4-FFF2-40B4-BE49-F238E27FC236}">
                <a16:creationId xmlns:a16="http://schemas.microsoft.com/office/drawing/2014/main" id="{C29FE713-40F7-14C5-0919-8A201170F00A}"/>
              </a:ext>
            </a:extLst>
          </p:cNvPr>
          <p:cNvSpPr/>
          <p:nvPr/>
        </p:nvSpPr>
        <p:spPr>
          <a:xfrm>
            <a:off x="2125008" y="3586993"/>
            <a:ext cx="1915760" cy="1809037"/>
          </a:xfrm>
          <a:custGeom>
            <a:avLst/>
            <a:gdLst/>
            <a:ahLst/>
            <a:cxnLst/>
            <a:rect l="l" t="t" r="r" b="b"/>
            <a:pathLst>
              <a:path w="46240" h="49742" extrusionOk="0">
                <a:moveTo>
                  <a:pt x="21173" y="0"/>
                </a:moveTo>
                <a:cubicBezTo>
                  <a:pt x="20593" y="0"/>
                  <a:pt x="20014" y="222"/>
                  <a:pt x="19434" y="222"/>
                </a:cubicBezTo>
                <a:cubicBezTo>
                  <a:pt x="19305" y="222"/>
                  <a:pt x="19176" y="211"/>
                  <a:pt x="19046" y="184"/>
                </a:cubicBezTo>
                <a:cubicBezTo>
                  <a:pt x="18473" y="452"/>
                  <a:pt x="17823" y="490"/>
                  <a:pt x="17211" y="681"/>
                </a:cubicBezTo>
                <a:cubicBezTo>
                  <a:pt x="16713" y="873"/>
                  <a:pt x="16102" y="758"/>
                  <a:pt x="15604" y="1064"/>
                </a:cubicBezTo>
                <a:cubicBezTo>
                  <a:pt x="14457" y="1064"/>
                  <a:pt x="13386" y="1561"/>
                  <a:pt x="12392" y="2020"/>
                </a:cubicBezTo>
                <a:cubicBezTo>
                  <a:pt x="11436" y="2441"/>
                  <a:pt x="10479" y="2938"/>
                  <a:pt x="9638" y="3550"/>
                </a:cubicBezTo>
                <a:cubicBezTo>
                  <a:pt x="9256" y="3817"/>
                  <a:pt x="8758" y="3932"/>
                  <a:pt x="8414" y="4238"/>
                </a:cubicBezTo>
                <a:cubicBezTo>
                  <a:pt x="7879" y="4659"/>
                  <a:pt x="7305" y="5041"/>
                  <a:pt x="6846" y="5577"/>
                </a:cubicBezTo>
                <a:cubicBezTo>
                  <a:pt x="6693" y="5768"/>
                  <a:pt x="6425" y="5845"/>
                  <a:pt x="6349" y="6112"/>
                </a:cubicBezTo>
                <a:cubicBezTo>
                  <a:pt x="6234" y="6380"/>
                  <a:pt x="5928" y="6265"/>
                  <a:pt x="5775" y="6456"/>
                </a:cubicBezTo>
                <a:cubicBezTo>
                  <a:pt x="5431" y="6801"/>
                  <a:pt x="4934" y="7068"/>
                  <a:pt x="4704" y="7451"/>
                </a:cubicBezTo>
                <a:cubicBezTo>
                  <a:pt x="4437" y="7833"/>
                  <a:pt x="3901" y="7986"/>
                  <a:pt x="3786" y="8483"/>
                </a:cubicBezTo>
                <a:cubicBezTo>
                  <a:pt x="3786" y="8514"/>
                  <a:pt x="3711" y="8570"/>
                  <a:pt x="3662" y="8570"/>
                </a:cubicBezTo>
                <a:cubicBezTo>
                  <a:pt x="3651" y="8570"/>
                  <a:pt x="3641" y="8567"/>
                  <a:pt x="3633" y="8560"/>
                </a:cubicBezTo>
                <a:cubicBezTo>
                  <a:pt x="3563" y="8525"/>
                  <a:pt x="3507" y="8510"/>
                  <a:pt x="3462" y="8510"/>
                </a:cubicBezTo>
                <a:cubicBezTo>
                  <a:pt x="3308" y="8510"/>
                  <a:pt x="3272" y="8680"/>
                  <a:pt x="3213" y="8828"/>
                </a:cubicBezTo>
                <a:cubicBezTo>
                  <a:pt x="2983" y="9248"/>
                  <a:pt x="2945" y="9784"/>
                  <a:pt x="2409" y="9975"/>
                </a:cubicBezTo>
                <a:cubicBezTo>
                  <a:pt x="2333" y="10013"/>
                  <a:pt x="2257" y="10166"/>
                  <a:pt x="2257" y="10243"/>
                </a:cubicBezTo>
                <a:cubicBezTo>
                  <a:pt x="2180" y="10549"/>
                  <a:pt x="2257" y="10931"/>
                  <a:pt x="1759" y="10931"/>
                </a:cubicBezTo>
                <a:cubicBezTo>
                  <a:pt x="1798" y="11314"/>
                  <a:pt x="1453" y="11390"/>
                  <a:pt x="1262" y="11581"/>
                </a:cubicBezTo>
                <a:cubicBezTo>
                  <a:pt x="1300" y="11734"/>
                  <a:pt x="1300" y="11849"/>
                  <a:pt x="1339" y="12002"/>
                </a:cubicBezTo>
                <a:cubicBezTo>
                  <a:pt x="1224" y="12079"/>
                  <a:pt x="1109" y="12117"/>
                  <a:pt x="994" y="12155"/>
                </a:cubicBezTo>
                <a:cubicBezTo>
                  <a:pt x="994" y="12308"/>
                  <a:pt x="1033" y="12461"/>
                  <a:pt x="1033" y="12652"/>
                </a:cubicBezTo>
                <a:cubicBezTo>
                  <a:pt x="727" y="12652"/>
                  <a:pt x="535" y="12767"/>
                  <a:pt x="497" y="13111"/>
                </a:cubicBezTo>
                <a:cubicBezTo>
                  <a:pt x="459" y="13341"/>
                  <a:pt x="421" y="13570"/>
                  <a:pt x="306" y="13723"/>
                </a:cubicBezTo>
                <a:cubicBezTo>
                  <a:pt x="191" y="13914"/>
                  <a:pt x="76" y="14067"/>
                  <a:pt x="0" y="14220"/>
                </a:cubicBezTo>
                <a:lnTo>
                  <a:pt x="0" y="34606"/>
                </a:lnTo>
                <a:cubicBezTo>
                  <a:pt x="153" y="34950"/>
                  <a:pt x="344" y="35294"/>
                  <a:pt x="268" y="35715"/>
                </a:cubicBezTo>
                <a:cubicBezTo>
                  <a:pt x="459" y="35868"/>
                  <a:pt x="688" y="36021"/>
                  <a:pt x="688" y="36135"/>
                </a:cubicBezTo>
                <a:cubicBezTo>
                  <a:pt x="650" y="36594"/>
                  <a:pt x="1109" y="36862"/>
                  <a:pt x="1147" y="37283"/>
                </a:cubicBezTo>
                <a:cubicBezTo>
                  <a:pt x="1147" y="37474"/>
                  <a:pt x="1377" y="37665"/>
                  <a:pt x="1568" y="37818"/>
                </a:cubicBezTo>
                <a:cubicBezTo>
                  <a:pt x="1759" y="38009"/>
                  <a:pt x="1989" y="38162"/>
                  <a:pt x="1989" y="38468"/>
                </a:cubicBezTo>
                <a:cubicBezTo>
                  <a:pt x="1989" y="38621"/>
                  <a:pt x="2104" y="38736"/>
                  <a:pt x="2218" y="38851"/>
                </a:cubicBezTo>
                <a:cubicBezTo>
                  <a:pt x="2257" y="38966"/>
                  <a:pt x="2371" y="39042"/>
                  <a:pt x="2409" y="39119"/>
                </a:cubicBezTo>
                <a:cubicBezTo>
                  <a:pt x="2639" y="39501"/>
                  <a:pt x="2830" y="39883"/>
                  <a:pt x="3060" y="40266"/>
                </a:cubicBezTo>
                <a:cubicBezTo>
                  <a:pt x="3213" y="40534"/>
                  <a:pt x="3404" y="40763"/>
                  <a:pt x="3595" y="40993"/>
                </a:cubicBezTo>
                <a:cubicBezTo>
                  <a:pt x="3748" y="41184"/>
                  <a:pt x="4092" y="41375"/>
                  <a:pt x="4092" y="41566"/>
                </a:cubicBezTo>
                <a:cubicBezTo>
                  <a:pt x="4131" y="41987"/>
                  <a:pt x="4590" y="41872"/>
                  <a:pt x="4704" y="42102"/>
                </a:cubicBezTo>
                <a:cubicBezTo>
                  <a:pt x="4743" y="42178"/>
                  <a:pt x="4781" y="42216"/>
                  <a:pt x="4819" y="42293"/>
                </a:cubicBezTo>
                <a:cubicBezTo>
                  <a:pt x="5393" y="43364"/>
                  <a:pt x="6502" y="43899"/>
                  <a:pt x="7343" y="44664"/>
                </a:cubicBezTo>
                <a:cubicBezTo>
                  <a:pt x="7458" y="44779"/>
                  <a:pt x="7726" y="44626"/>
                  <a:pt x="7764" y="44970"/>
                </a:cubicBezTo>
                <a:cubicBezTo>
                  <a:pt x="7764" y="45047"/>
                  <a:pt x="8146" y="45085"/>
                  <a:pt x="8338" y="45200"/>
                </a:cubicBezTo>
                <a:cubicBezTo>
                  <a:pt x="9179" y="45735"/>
                  <a:pt x="10059" y="46271"/>
                  <a:pt x="10938" y="46768"/>
                </a:cubicBezTo>
                <a:cubicBezTo>
                  <a:pt x="11780" y="47265"/>
                  <a:pt x="12698" y="47647"/>
                  <a:pt x="13539" y="48145"/>
                </a:cubicBezTo>
                <a:cubicBezTo>
                  <a:pt x="14036" y="48489"/>
                  <a:pt x="14686" y="48451"/>
                  <a:pt x="15222" y="48795"/>
                </a:cubicBezTo>
                <a:cubicBezTo>
                  <a:pt x="15566" y="48986"/>
                  <a:pt x="16063" y="49024"/>
                  <a:pt x="16484" y="49063"/>
                </a:cubicBezTo>
                <a:cubicBezTo>
                  <a:pt x="16905" y="49139"/>
                  <a:pt x="17325" y="49139"/>
                  <a:pt x="17746" y="49139"/>
                </a:cubicBezTo>
                <a:cubicBezTo>
                  <a:pt x="18090" y="49177"/>
                  <a:pt x="18435" y="49369"/>
                  <a:pt x="18779" y="49407"/>
                </a:cubicBezTo>
                <a:cubicBezTo>
                  <a:pt x="19582" y="49521"/>
                  <a:pt x="20423" y="49330"/>
                  <a:pt x="21188" y="49674"/>
                </a:cubicBezTo>
                <a:cubicBezTo>
                  <a:pt x="21409" y="49601"/>
                  <a:pt x="21624" y="49578"/>
                  <a:pt x="21835" y="49578"/>
                </a:cubicBezTo>
                <a:cubicBezTo>
                  <a:pt x="22174" y="49578"/>
                  <a:pt x="22503" y="49636"/>
                  <a:pt x="22833" y="49636"/>
                </a:cubicBezTo>
                <a:cubicBezTo>
                  <a:pt x="22919" y="49630"/>
                  <a:pt x="23005" y="49628"/>
                  <a:pt x="23092" y="49628"/>
                </a:cubicBezTo>
                <a:cubicBezTo>
                  <a:pt x="23429" y="49628"/>
                  <a:pt x="23766" y="49663"/>
                  <a:pt x="24104" y="49663"/>
                </a:cubicBezTo>
                <a:cubicBezTo>
                  <a:pt x="24254" y="49663"/>
                  <a:pt x="24404" y="49656"/>
                  <a:pt x="24554" y="49636"/>
                </a:cubicBezTo>
                <a:cubicBezTo>
                  <a:pt x="24724" y="49615"/>
                  <a:pt x="24918" y="49558"/>
                  <a:pt x="25110" y="49558"/>
                </a:cubicBezTo>
                <a:cubicBezTo>
                  <a:pt x="25262" y="49558"/>
                  <a:pt x="25413" y="49594"/>
                  <a:pt x="25548" y="49713"/>
                </a:cubicBezTo>
                <a:cubicBezTo>
                  <a:pt x="25567" y="49732"/>
                  <a:pt x="25615" y="49741"/>
                  <a:pt x="25658" y="49741"/>
                </a:cubicBezTo>
                <a:cubicBezTo>
                  <a:pt x="25701" y="49741"/>
                  <a:pt x="25740" y="49732"/>
                  <a:pt x="25740" y="49713"/>
                </a:cubicBezTo>
                <a:cubicBezTo>
                  <a:pt x="25873" y="49541"/>
                  <a:pt x="26026" y="49493"/>
                  <a:pt x="26189" y="49493"/>
                </a:cubicBezTo>
                <a:cubicBezTo>
                  <a:pt x="26351" y="49493"/>
                  <a:pt x="26524" y="49541"/>
                  <a:pt x="26696" y="49560"/>
                </a:cubicBezTo>
                <a:cubicBezTo>
                  <a:pt x="26810" y="49560"/>
                  <a:pt x="27040" y="49521"/>
                  <a:pt x="27078" y="49445"/>
                </a:cubicBezTo>
                <a:cubicBezTo>
                  <a:pt x="27308" y="49063"/>
                  <a:pt x="27690" y="49177"/>
                  <a:pt x="27996" y="49101"/>
                </a:cubicBezTo>
                <a:cubicBezTo>
                  <a:pt x="28011" y="49097"/>
                  <a:pt x="28026" y="49095"/>
                  <a:pt x="28041" y="49095"/>
                </a:cubicBezTo>
                <a:cubicBezTo>
                  <a:pt x="28108" y="49095"/>
                  <a:pt x="28173" y="49125"/>
                  <a:pt x="28235" y="49125"/>
                </a:cubicBezTo>
                <a:cubicBezTo>
                  <a:pt x="28301" y="49125"/>
                  <a:pt x="28363" y="49091"/>
                  <a:pt x="28417" y="48948"/>
                </a:cubicBezTo>
                <a:cubicBezTo>
                  <a:pt x="28447" y="48878"/>
                  <a:pt x="28479" y="48853"/>
                  <a:pt x="28514" y="48853"/>
                </a:cubicBezTo>
                <a:cubicBezTo>
                  <a:pt x="28613" y="48853"/>
                  <a:pt x="28734" y="49063"/>
                  <a:pt x="28876" y="49063"/>
                </a:cubicBezTo>
                <a:cubicBezTo>
                  <a:pt x="28914" y="49063"/>
                  <a:pt x="28952" y="49024"/>
                  <a:pt x="28990" y="48986"/>
                </a:cubicBezTo>
                <a:cubicBezTo>
                  <a:pt x="29373" y="48718"/>
                  <a:pt x="29832" y="48680"/>
                  <a:pt x="30253" y="48565"/>
                </a:cubicBezTo>
                <a:cubicBezTo>
                  <a:pt x="30597" y="48489"/>
                  <a:pt x="31056" y="48604"/>
                  <a:pt x="31285" y="48145"/>
                </a:cubicBezTo>
                <a:cubicBezTo>
                  <a:pt x="31314" y="48149"/>
                  <a:pt x="31343" y="48152"/>
                  <a:pt x="31371" y="48152"/>
                </a:cubicBezTo>
                <a:cubicBezTo>
                  <a:pt x="31709" y="48152"/>
                  <a:pt x="31969" y="47822"/>
                  <a:pt x="32289" y="47822"/>
                </a:cubicBezTo>
                <a:cubicBezTo>
                  <a:pt x="32359" y="47822"/>
                  <a:pt x="32432" y="47838"/>
                  <a:pt x="32509" y="47877"/>
                </a:cubicBezTo>
                <a:cubicBezTo>
                  <a:pt x="32531" y="47888"/>
                  <a:pt x="32557" y="47893"/>
                  <a:pt x="32583" y="47893"/>
                </a:cubicBezTo>
                <a:cubicBezTo>
                  <a:pt x="32646" y="47893"/>
                  <a:pt x="32712" y="47866"/>
                  <a:pt x="32739" y="47839"/>
                </a:cubicBezTo>
                <a:cubicBezTo>
                  <a:pt x="32968" y="47494"/>
                  <a:pt x="33350" y="47533"/>
                  <a:pt x="33656" y="47418"/>
                </a:cubicBezTo>
                <a:cubicBezTo>
                  <a:pt x="33848" y="47380"/>
                  <a:pt x="34001" y="47150"/>
                  <a:pt x="34192" y="47112"/>
                </a:cubicBezTo>
                <a:cubicBezTo>
                  <a:pt x="34536" y="47074"/>
                  <a:pt x="34842" y="46997"/>
                  <a:pt x="34957" y="46653"/>
                </a:cubicBezTo>
                <a:cubicBezTo>
                  <a:pt x="34957" y="46577"/>
                  <a:pt x="35072" y="46538"/>
                  <a:pt x="35148" y="46538"/>
                </a:cubicBezTo>
                <a:cubicBezTo>
                  <a:pt x="35215" y="46563"/>
                  <a:pt x="35276" y="46573"/>
                  <a:pt x="35332" y="46573"/>
                </a:cubicBezTo>
                <a:cubicBezTo>
                  <a:pt x="35629" y="46573"/>
                  <a:pt x="35784" y="46272"/>
                  <a:pt x="35913" y="46079"/>
                </a:cubicBezTo>
                <a:cubicBezTo>
                  <a:pt x="36066" y="45812"/>
                  <a:pt x="36334" y="45659"/>
                  <a:pt x="36563" y="45506"/>
                </a:cubicBezTo>
                <a:cubicBezTo>
                  <a:pt x="36907" y="45238"/>
                  <a:pt x="37213" y="45008"/>
                  <a:pt x="37519" y="44741"/>
                </a:cubicBezTo>
                <a:cubicBezTo>
                  <a:pt x="37634" y="44626"/>
                  <a:pt x="37672" y="44397"/>
                  <a:pt x="37825" y="44320"/>
                </a:cubicBezTo>
                <a:cubicBezTo>
                  <a:pt x="38590" y="43823"/>
                  <a:pt x="39240" y="43173"/>
                  <a:pt x="39929" y="42522"/>
                </a:cubicBezTo>
                <a:cubicBezTo>
                  <a:pt x="40235" y="42216"/>
                  <a:pt x="40617" y="41949"/>
                  <a:pt x="40847" y="41605"/>
                </a:cubicBezTo>
                <a:cubicBezTo>
                  <a:pt x="41191" y="41031"/>
                  <a:pt x="41612" y="40534"/>
                  <a:pt x="41918" y="39960"/>
                </a:cubicBezTo>
                <a:cubicBezTo>
                  <a:pt x="42377" y="39195"/>
                  <a:pt x="42797" y="38468"/>
                  <a:pt x="43141" y="37627"/>
                </a:cubicBezTo>
                <a:cubicBezTo>
                  <a:pt x="43256" y="37397"/>
                  <a:pt x="43371" y="37206"/>
                  <a:pt x="43486" y="36977"/>
                </a:cubicBezTo>
                <a:cubicBezTo>
                  <a:pt x="43600" y="36747"/>
                  <a:pt x="43562" y="36480"/>
                  <a:pt x="43868" y="36327"/>
                </a:cubicBezTo>
                <a:cubicBezTo>
                  <a:pt x="44021" y="36212"/>
                  <a:pt x="43983" y="35868"/>
                  <a:pt x="44098" y="35638"/>
                </a:cubicBezTo>
                <a:cubicBezTo>
                  <a:pt x="44327" y="35026"/>
                  <a:pt x="44633" y="34453"/>
                  <a:pt x="44824" y="33841"/>
                </a:cubicBezTo>
                <a:cubicBezTo>
                  <a:pt x="44939" y="33496"/>
                  <a:pt x="45130" y="33152"/>
                  <a:pt x="44977" y="32731"/>
                </a:cubicBezTo>
                <a:cubicBezTo>
                  <a:pt x="44901" y="32540"/>
                  <a:pt x="45016" y="32158"/>
                  <a:pt x="45168" y="32043"/>
                </a:cubicBezTo>
                <a:cubicBezTo>
                  <a:pt x="45398" y="31890"/>
                  <a:pt x="45360" y="31775"/>
                  <a:pt x="45398" y="31584"/>
                </a:cubicBezTo>
                <a:cubicBezTo>
                  <a:pt x="45513" y="31087"/>
                  <a:pt x="45360" y="30551"/>
                  <a:pt x="45551" y="30092"/>
                </a:cubicBezTo>
                <a:cubicBezTo>
                  <a:pt x="45627" y="29901"/>
                  <a:pt x="45742" y="29672"/>
                  <a:pt x="45742" y="29481"/>
                </a:cubicBezTo>
                <a:cubicBezTo>
                  <a:pt x="45704" y="28830"/>
                  <a:pt x="45704" y="28180"/>
                  <a:pt x="45972" y="27530"/>
                </a:cubicBezTo>
                <a:cubicBezTo>
                  <a:pt x="46048" y="27301"/>
                  <a:pt x="46125" y="26956"/>
                  <a:pt x="46048" y="26803"/>
                </a:cubicBezTo>
                <a:cubicBezTo>
                  <a:pt x="45857" y="26230"/>
                  <a:pt x="46125" y="25694"/>
                  <a:pt x="46125" y="25121"/>
                </a:cubicBezTo>
                <a:cubicBezTo>
                  <a:pt x="46125" y="24738"/>
                  <a:pt x="46239" y="24279"/>
                  <a:pt x="46086" y="23935"/>
                </a:cubicBezTo>
                <a:cubicBezTo>
                  <a:pt x="45895" y="23476"/>
                  <a:pt x="45895" y="23093"/>
                  <a:pt x="45972" y="22596"/>
                </a:cubicBezTo>
                <a:cubicBezTo>
                  <a:pt x="46010" y="22367"/>
                  <a:pt x="46163" y="22099"/>
                  <a:pt x="45972" y="21793"/>
                </a:cubicBezTo>
                <a:cubicBezTo>
                  <a:pt x="45895" y="21678"/>
                  <a:pt x="45933" y="21449"/>
                  <a:pt x="45933" y="21296"/>
                </a:cubicBezTo>
                <a:cubicBezTo>
                  <a:pt x="45895" y="21028"/>
                  <a:pt x="45895" y="20799"/>
                  <a:pt x="45857" y="20569"/>
                </a:cubicBezTo>
                <a:cubicBezTo>
                  <a:pt x="45780" y="20072"/>
                  <a:pt x="45589" y="19613"/>
                  <a:pt x="45589" y="19154"/>
                </a:cubicBezTo>
                <a:cubicBezTo>
                  <a:pt x="45589" y="18886"/>
                  <a:pt x="45627" y="18733"/>
                  <a:pt x="45398" y="18466"/>
                </a:cubicBezTo>
                <a:cubicBezTo>
                  <a:pt x="45207" y="18236"/>
                  <a:pt x="45207" y="17854"/>
                  <a:pt x="45130" y="17510"/>
                </a:cubicBezTo>
                <a:cubicBezTo>
                  <a:pt x="44901" y="16745"/>
                  <a:pt x="44365" y="16056"/>
                  <a:pt x="44289" y="15215"/>
                </a:cubicBezTo>
                <a:cubicBezTo>
                  <a:pt x="44289" y="15177"/>
                  <a:pt x="44251" y="15100"/>
                  <a:pt x="44212" y="15100"/>
                </a:cubicBezTo>
                <a:cubicBezTo>
                  <a:pt x="43868" y="14947"/>
                  <a:pt x="43906" y="14603"/>
                  <a:pt x="43792" y="14335"/>
                </a:cubicBezTo>
                <a:cubicBezTo>
                  <a:pt x="43639" y="13953"/>
                  <a:pt x="43524" y="13455"/>
                  <a:pt x="43256" y="13226"/>
                </a:cubicBezTo>
                <a:cubicBezTo>
                  <a:pt x="42721" y="12767"/>
                  <a:pt x="42874" y="12040"/>
                  <a:pt x="42338" y="11620"/>
                </a:cubicBezTo>
                <a:cubicBezTo>
                  <a:pt x="42224" y="11543"/>
                  <a:pt x="42300" y="11199"/>
                  <a:pt x="42185" y="11122"/>
                </a:cubicBezTo>
                <a:cubicBezTo>
                  <a:pt x="41497" y="10549"/>
                  <a:pt x="41038" y="9860"/>
                  <a:pt x="40541" y="9172"/>
                </a:cubicBezTo>
                <a:cubicBezTo>
                  <a:pt x="40311" y="8828"/>
                  <a:pt x="39967" y="8522"/>
                  <a:pt x="39661" y="8216"/>
                </a:cubicBezTo>
                <a:cubicBezTo>
                  <a:pt x="39393" y="7910"/>
                  <a:pt x="39164" y="7566"/>
                  <a:pt x="38858" y="7260"/>
                </a:cubicBezTo>
                <a:cubicBezTo>
                  <a:pt x="38284" y="6648"/>
                  <a:pt x="37787" y="6036"/>
                  <a:pt x="37099" y="5539"/>
                </a:cubicBezTo>
                <a:cubicBezTo>
                  <a:pt x="36793" y="5309"/>
                  <a:pt x="36487" y="5118"/>
                  <a:pt x="36181" y="4888"/>
                </a:cubicBezTo>
                <a:cubicBezTo>
                  <a:pt x="35875" y="4659"/>
                  <a:pt x="35607" y="4429"/>
                  <a:pt x="35339" y="4200"/>
                </a:cubicBezTo>
                <a:cubicBezTo>
                  <a:pt x="35225" y="4123"/>
                  <a:pt x="35110" y="4047"/>
                  <a:pt x="34995" y="4009"/>
                </a:cubicBezTo>
                <a:cubicBezTo>
                  <a:pt x="34766" y="3932"/>
                  <a:pt x="34498" y="4009"/>
                  <a:pt x="34345" y="3741"/>
                </a:cubicBezTo>
                <a:cubicBezTo>
                  <a:pt x="34230" y="3588"/>
                  <a:pt x="33924" y="3779"/>
                  <a:pt x="33848" y="3435"/>
                </a:cubicBezTo>
                <a:cubicBezTo>
                  <a:pt x="33809" y="3282"/>
                  <a:pt x="33389" y="3244"/>
                  <a:pt x="33159" y="3129"/>
                </a:cubicBezTo>
                <a:cubicBezTo>
                  <a:pt x="33016" y="3058"/>
                  <a:pt x="32907" y="2819"/>
                  <a:pt x="32831" y="2819"/>
                </a:cubicBezTo>
                <a:cubicBezTo>
                  <a:pt x="32825" y="2819"/>
                  <a:pt x="32820" y="2821"/>
                  <a:pt x="32815" y="2823"/>
                </a:cubicBezTo>
                <a:cubicBezTo>
                  <a:pt x="32745" y="2842"/>
                  <a:pt x="32681" y="2851"/>
                  <a:pt x="32623" y="2851"/>
                </a:cubicBezTo>
                <a:cubicBezTo>
                  <a:pt x="32330" y="2851"/>
                  <a:pt x="32165" y="2638"/>
                  <a:pt x="31974" y="2479"/>
                </a:cubicBezTo>
                <a:cubicBezTo>
                  <a:pt x="31782" y="2326"/>
                  <a:pt x="31553" y="2249"/>
                  <a:pt x="31323" y="2173"/>
                </a:cubicBezTo>
                <a:cubicBezTo>
                  <a:pt x="30903" y="2020"/>
                  <a:pt x="30444" y="1982"/>
                  <a:pt x="30061" y="1829"/>
                </a:cubicBezTo>
                <a:cubicBezTo>
                  <a:pt x="29794" y="1714"/>
                  <a:pt x="29526" y="1523"/>
                  <a:pt x="29143" y="1446"/>
                </a:cubicBezTo>
                <a:cubicBezTo>
                  <a:pt x="28608" y="1370"/>
                  <a:pt x="28073" y="1140"/>
                  <a:pt x="27499" y="949"/>
                </a:cubicBezTo>
                <a:cubicBezTo>
                  <a:pt x="27002" y="796"/>
                  <a:pt x="26390" y="949"/>
                  <a:pt x="25893" y="528"/>
                </a:cubicBezTo>
                <a:cubicBezTo>
                  <a:pt x="25867" y="528"/>
                  <a:pt x="25808" y="511"/>
                  <a:pt x="25759" y="511"/>
                </a:cubicBezTo>
                <a:cubicBezTo>
                  <a:pt x="25735" y="511"/>
                  <a:pt x="25714" y="516"/>
                  <a:pt x="25701" y="528"/>
                </a:cubicBezTo>
                <a:cubicBezTo>
                  <a:pt x="25622" y="581"/>
                  <a:pt x="25547" y="602"/>
                  <a:pt x="25476" y="602"/>
                </a:cubicBezTo>
                <a:cubicBezTo>
                  <a:pt x="25340" y="602"/>
                  <a:pt x="25215" y="527"/>
                  <a:pt x="25089" y="452"/>
                </a:cubicBezTo>
                <a:cubicBezTo>
                  <a:pt x="24783" y="375"/>
                  <a:pt x="24477" y="261"/>
                  <a:pt x="24171" y="222"/>
                </a:cubicBezTo>
                <a:cubicBezTo>
                  <a:pt x="23865" y="222"/>
                  <a:pt x="23560" y="271"/>
                  <a:pt x="23254" y="271"/>
                </a:cubicBezTo>
                <a:cubicBezTo>
                  <a:pt x="23177" y="271"/>
                  <a:pt x="23101" y="268"/>
                  <a:pt x="23024" y="261"/>
                </a:cubicBezTo>
                <a:cubicBezTo>
                  <a:pt x="22705" y="202"/>
                  <a:pt x="22407" y="56"/>
                  <a:pt x="22098" y="56"/>
                </a:cubicBezTo>
                <a:cubicBezTo>
                  <a:pt x="22000" y="56"/>
                  <a:pt x="21901" y="71"/>
                  <a:pt x="21800" y="108"/>
                </a:cubicBezTo>
                <a:cubicBezTo>
                  <a:pt x="21591" y="29"/>
                  <a:pt x="21382" y="0"/>
                  <a:pt x="21173" y="0"/>
                </a:cubicBezTo>
                <a:close/>
              </a:path>
            </a:pathLst>
          </a:custGeom>
          <a:solidFill>
            <a:schemeClr val="accent2">
              <a:lumMod val="50000"/>
              <a:alpha val="3631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4" name="Google Shape;113;p15">
            <a:extLst>
              <a:ext uri="{FF2B5EF4-FFF2-40B4-BE49-F238E27FC236}">
                <a16:creationId xmlns:a16="http://schemas.microsoft.com/office/drawing/2014/main" id="{80C9F0A7-94AE-2376-90FF-2E592DAFDD20}"/>
              </a:ext>
            </a:extLst>
          </p:cNvPr>
          <p:cNvSpPr/>
          <p:nvPr/>
        </p:nvSpPr>
        <p:spPr>
          <a:xfrm>
            <a:off x="2080145" y="3523492"/>
            <a:ext cx="1934581" cy="1952583"/>
          </a:xfrm>
          <a:custGeom>
            <a:avLst/>
            <a:gdLst/>
            <a:ahLst/>
            <a:cxnLst/>
            <a:rect l="l" t="t" r="r" b="b"/>
            <a:pathLst>
              <a:path w="70717" h="71375" extrusionOk="0">
                <a:moveTo>
                  <a:pt x="36190" y="1169"/>
                </a:moveTo>
                <a:cubicBezTo>
                  <a:pt x="36213" y="1169"/>
                  <a:pt x="36235" y="1174"/>
                  <a:pt x="36257" y="1185"/>
                </a:cubicBezTo>
                <a:cubicBezTo>
                  <a:pt x="36481" y="1217"/>
                  <a:pt x="36758" y="1356"/>
                  <a:pt x="36955" y="1356"/>
                </a:cubicBezTo>
                <a:cubicBezTo>
                  <a:pt x="36994" y="1356"/>
                  <a:pt x="37029" y="1351"/>
                  <a:pt x="37061" y="1338"/>
                </a:cubicBezTo>
                <a:cubicBezTo>
                  <a:pt x="37172" y="1276"/>
                  <a:pt x="37267" y="1254"/>
                  <a:pt x="37354" y="1254"/>
                </a:cubicBezTo>
                <a:cubicBezTo>
                  <a:pt x="37536" y="1254"/>
                  <a:pt x="37682" y="1350"/>
                  <a:pt x="37864" y="1376"/>
                </a:cubicBezTo>
                <a:cubicBezTo>
                  <a:pt x="38399" y="1491"/>
                  <a:pt x="38973" y="1529"/>
                  <a:pt x="39508" y="1606"/>
                </a:cubicBezTo>
                <a:cubicBezTo>
                  <a:pt x="39542" y="1612"/>
                  <a:pt x="39576" y="1615"/>
                  <a:pt x="39611" y="1615"/>
                </a:cubicBezTo>
                <a:cubicBezTo>
                  <a:pt x="39801" y="1615"/>
                  <a:pt x="39995" y="1528"/>
                  <a:pt x="40173" y="1528"/>
                </a:cubicBezTo>
                <a:cubicBezTo>
                  <a:pt x="40326" y="1528"/>
                  <a:pt x="40466" y="1593"/>
                  <a:pt x="40579" y="1835"/>
                </a:cubicBezTo>
                <a:cubicBezTo>
                  <a:pt x="40598" y="1873"/>
                  <a:pt x="40675" y="1883"/>
                  <a:pt x="40761" y="1883"/>
                </a:cubicBezTo>
                <a:cubicBezTo>
                  <a:pt x="40847" y="1883"/>
                  <a:pt x="40942" y="1873"/>
                  <a:pt x="41000" y="1873"/>
                </a:cubicBezTo>
                <a:cubicBezTo>
                  <a:pt x="41102" y="1873"/>
                  <a:pt x="41221" y="1856"/>
                  <a:pt x="41323" y="1856"/>
                </a:cubicBezTo>
                <a:cubicBezTo>
                  <a:pt x="41374" y="1856"/>
                  <a:pt x="41421" y="1861"/>
                  <a:pt x="41459" y="1873"/>
                </a:cubicBezTo>
                <a:cubicBezTo>
                  <a:pt x="41672" y="1980"/>
                  <a:pt x="41885" y="2123"/>
                  <a:pt x="42124" y="2123"/>
                </a:cubicBezTo>
                <a:cubicBezTo>
                  <a:pt x="42228" y="2123"/>
                  <a:pt x="42337" y="2096"/>
                  <a:pt x="42453" y="2026"/>
                </a:cubicBezTo>
                <a:cubicBezTo>
                  <a:pt x="42874" y="2294"/>
                  <a:pt x="43371" y="2218"/>
                  <a:pt x="43830" y="2332"/>
                </a:cubicBezTo>
                <a:cubicBezTo>
                  <a:pt x="44251" y="2409"/>
                  <a:pt x="44671" y="2524"/>
                  <a:pt x="45092" y="2600"/>
                </a:cubicBezTo>
                <a:cubicBezTo>
                  <a:pt x="45398" y="2677"/>
                  <a:pt x="45704" y="2753"/>
                  <a:pt x="46010" y="2791"/>
                </a:cubicBezTo>
                <a:cubicBezTo>
                  <a:pt x="46048" y="2810"/>
                  <a:pt x="46096" y="2820"/>
                  <a:pt x="46144" y="2820"/>
                </a:cubicBezTo>
                <a:cubicBezTo>
                  <a:pt x="46192" y="2820"/>
                  <a:pt x="46240" y="2810"/>
                  <a:pt x="46278" y="2791"/>
                </a:cubicBezTo>
                <a:cubicBezTo>
                  <a:pt x="46420" y="2756"/>
                  <a:pt x="46545" y="2729"/>
                  <a:pt x="46673" y="2729"/>
                </a:cubicBezTo>
                <a:cubicBezTo>
                  <a:pt x="46821" y="2729"/>
                  <a:pt x="46973" y="2765"/>
                  <a:pt x="47157" y="2868"/>
                </a:cubicBezTo>
                <a:cubicBezTo>
                  <a:pt x="47349" y="2983"/>
                  <a:pt x="47731" y="2830"/>
                  <a:pt x="47655" y="3289"/>
                </a:cubicBezTo>
                <a:cubicBezTo>
                  <a:pt x="47898" y="3358"/>
                  <a:pt x="48174" y="3523"/>
                  <a:pt x="48423" y="3523"/>
                </a:cubicBezTo>
                <a:cubicBezTo>
                  <a:pt x="48448" y="3523"/>
                  <a:pt x="48472" y="3521"/>
                  <a:pt x="48496" y="3518"/>
                </a:cubicBezTo>
                <a:cubicBezTo>
                  <a:pt x="48553" y="3510"/>
                  <a:pt x="48609" y="3506"/>
                  <a:pt x="48664" y="3506"/>
                </a:cubicBezTo>
                <a:cubicBezTo>
                  <a:pt x="49121" y="3506"/>
                  <a:pt x="49497" y="3772"/>
                  <a:pt x="49873" y="3977"/>
                </a:cubicBezTo>
                <a:cubicBezTo>
                  <a:pt x="50102" y="4092"/>
                  <a:pt x="50408" y="4245"/>
                  <a:pt x="50600" y="4512"/>
                </a:cubicBezTo>
                <a:cubicBezTo>
                  <a:pt x="50829" y="4895"/>
                  <a:pt x="51288" y="4895"/>
                  <a:pt x="51632" y="5201"/>
                </a:cubicBezTo>
                <a:cubicBezTo>
                  <a:pt x="52321" y="5775"/>
                  <a:pt x="53277" y="6004"/>
                  <a:pt x="53927" y="6731"/>
                </a:cubicBezTo>
                <a:cubicBezTo>
                  <a:pt x="53960" y="6726"/>
                  <a:pt x="53991" y="6724"/>
                  <a:pt x="54021" y="6724"/>
                </a:cubicBezTo>
                <a:cubicBezTo>
                  <a:pt x="54473" y="6724"/>
                  <a:pt x="54560" y="7240"/>
                  <a:pt x="54883" y="7419"/>
                </a:cubicBezTo>
                <a:cubicBezTo>
                  <a:pt x="55266" y="7649"/>
                  <a:pt x="55648" y="7840"/>
                  <a:pt x="55954" y="8146"/>
                </a:cubicBezTo>
                <a:cubicBezTo>
                  <a:pt x="56642" y="8796"/>
                  <a:pt x="57446" y="9217"/>
                  <a:pt x="58172" y="9790"/>
                </a:cubicBezTo>
                <a:cubicBezTo>
                  <a:pt x="58593" y="10135"/>
                  <a:pt x="58899" y="10594"/>
                  <a:pt x="59320" y="10976"/>
                </a:cubicBezTo>
                <a:cubicBezTo>
                  <a:pt x="59626" y="11244"/>
                  <a:pt x="59855" y="11550"/>
                  <a:pt x="60123" y="11856"/>
                </a:cubicBezTo>
                <a:cubicBezTo>
                  <a:pt x="60314" y="12047"/>
                  <a:pt x="60544" y="12200"/>
                  <a:pt x="60620" y="12429"/>
                </a:cubicBezTo>
                <a:cubicBezTo>
                  <a:pt x="60735" y="12850"/>
                  <a:pt x="61308" y="12927"/>
                  <a:pt x="61347" y="13385"/>
                </a:cubicBezTo>
                <a:cubicBezTo>
                  <a:pt x="61385" y="13462"/>
                  <a:pt x="61461" y="13577"/>
                  <a:pt x="61538" y="13615"/>
                </a:cubicBezTo>
                <a:cubicBezTo>
                  <a:pt x="61959" y="13615"/>
                  <a:pt x="62035" y="13997"/>
                  <a:pt x="62265" y="14227"/>
                </a:cubicBezTo>
                <a:cubicBezTo>
                  <a:pt x="62685" y="14648"/>
                  <a:pt x="63068" y="15107"/>
                  <a:pt x="63488" y="15566"/>
                </a:cubicBezTo>
                <a:cubicBezTo>
                  <a:pt x="63565" y="15680"/>
                  <a:pt x="63641" y="15795"/>
                  <a:pt x="63718" y="15948"/>
                </a:cubicBezTo>
                <a:cubicBezTo>
                  <a:pt x="63794" y="16216"/>
                  <a:pt x="63794" y="16522"/>
                  <a:pt x="64177" y="16636"/>
                </a:cubicBezTo>
                <a:cubicBezTo>
                  <a:pt x="64253" y="16675"/>
                  <a:pt x="64215" y="17019"/>
                  <a:pt x="64292" y="17095"/>
                </a:cubicBezTo>
                <a:cubicBezTo>
                  <a:pt x="64904" y="17554"/>
                  <a:pt x="64980" y="18434"/>
                  <a:pt x="65630" y="18893"/>
                </a:cubicBezTo>
                <a:cubicBezTo>
                  <a:pt x="65707" y="19314"/>
                  <a:pt x="66280" y="19505"/>
                  <a:pt x="66166" y="20040"/>
                </a:cubicBezTo>
                <a:cubicBezTo>
                  <a:pt x="66166" y="20117"/>
                  <a:pt x="66280" y="20232"/>
                  <a:pt x="66319" y="20308"/>
                </a:cubicBezTo>
                <a:cubicBezTo>
                  <a:pt x="66548" y="20767"/>
                  <a:pt x="66931" y="21188"/>
                  <a:pt x="66969" y="21685"/>
                </a:cubicBezTo>
                <a:cubicBezTo>
                  <a:pt x="67007" y="22106"/>
                  <a:pt x="67275" y="22412"/>
                  <a:pt x="67313" y="22794"/>
                </a:cubicBezTo>
                <a:cubicBezTo>
                  <a:pt x="67390" y="23253"/>
                  <a:pt x="67543" y="23674"/>
                  <a:pt x="67581" y="24094"/>
                </a:cubicBezTo>
                <a:cubicBezTo>
                  <a:pt x="67581" y="24171"/>
                  <a:pt x="67619" y="24209"/>
                  <a:pt x="67619" y="24247"/>
                </a:cubicBezTo>
                <a:cubicBezTo>
                  <a:pt x="68193" y="24859"/>
                  <a:pt x="67963" y="25777"/>
                  <a:pt x="68460" y="26389"/>
                </a:cubicBezTo>
                <a:cubicBezTo>
                  <a:pt x="68537" y="26466"/>
                  <a:pt x="68537" y="26619"/>
                  <a:pt x="68499" y="26695"/>
                </a:cubicBezTo>
                <a:cubicBezTo>
                  <a:pt x="68346" y="27001"/>
                  <a:pt x="68460" y="27192"/>
                  <a:pt x="68690" y="27345"/>
                </a:cubicBezTo>
                <a:cubicBezTo>
                  <a:pt x="68690" y="27384"/>
                  <a:pt x="68690" y="27384"/>
                  <a:pt x="68690" y="27422"/>
                </a:cubicBezTo>
                <a:cubicBezTo>
                  <a:pt x="68766" y="27690"/>
                  <a:pt x="68805" y="27995"/>
                  <a:pt x="68881" y="28225"/>
                </a:cubicBezTo>
                <a:cubicBezTo>
                  <a:pt x="68996" y="28493"/>
                  <a:pt x="69187" y="28722"/>
                  <a:pt x="69264" y="28952"/>
                </a:cubicBezTo>
                <a:cubicBezTo>
                  <a:pt x="69417" y="29296"/>
                  <a:pt x="69646" y="29640"/>
                  <a:pt x="69531" y="29908"/>
                </a:cubicBezTo>
                <a:cubicBezTo>
                  <a:pt x="69417" y="30290"/>
                  <a:pt x="69570" y="30558"/>
                  <a:pt x="69684" y="30864"/>
                </a:cubicBezTo>
                <a:cubicBezTo>
                  <a:pt x="69761" y="31017"/>
                  <a:pt x="69417" y="31246"/>
                  <a:pt x="69799" y="31399"/>
                </a:cubicBezTo>
                <a:cubicBezTo>
                  <a:pt x="69837" y="31438"/>
                  <a:pt x="69761" y="31820"/>
                  <a:pt x="69723" y="32050"/>
                </a:cubicBezTo>
                <a:cubicBezTo>
                  <a:pt x="69684" y="32203"/>
                  <a:pt x="69340" y="32394"/>
                  <a:pt x="69761" y="32509"/>
                </a:cubicBezTo>
                <a:cubicBezTo>
                  <a:pt x="69761" y="32547"/>
                  <a:pt x="69799" y="32585"/>
                  <a:pt x="69799" y="32585"/>
                </a:cubicBezTo>
                <a:cubicBezTo>
                  <a:pt x="69417" y="32814"/>
                  <a:pt x="69684" y="33197"/>
                  <a:pt x="69608" y="33465"/>
                </a:cubicBezTo>
                <a:cubicBezTo>
                  <a:pt x="69493" y="33771"/>
                  <a:pt x="69493" y="34000"/>
                  <a:pt x="69684" y="34230"/>
                </a:cubicBezTo>
                <a:cubicBezTo>
                  <a:pt x="69723" y="34306"/>
                  <a:pt x="69723" y="34421"/>
                  <a:pt x="69723" y="34536"/>
                </a:cubicBezTo>
                <a:cubicBezTo>
                  <a:pt x="69608" y="34842"/>
                  <a:pt x="69455" y="35147"/>
                  <a:pt x="69608" y="35492"/>
                </a:cubicBezTo>
                <a:cubicBezTo>
                  <a:pt x="69723" y="35798"/>
                  <a:pt x="69340" y="36027"/>
                  <a:pt x="69531" y="36333"/>
                </a:cubicBezTo>
                <a:cubicBezTo>
                  <a:pt x="69646" y="36524"/>
                  <a:pt x="69302" y="36677"/>
                  <a:pt x="69378" y="36983"/>
                </a:cubicBezTo>
                <a:cubicBezTo>
                  <a:pt x="69455" y="37404"/>
                  <a:pt x="69264" y="37863"/>
                  <a:pt x="69264" y="38284"/>
                </a:cubicBezTo>
                <a:cubicBezTo>
                  <a:pt x="69264" y="38513"/>
                  <a:pt x="69302" y="38666"/>
                  <a:pt x="69111" y="38857"/>
                </a:cubicBezTo>
                <a:cubicBezTo>
                  <a:pt x="69072" y="38896"/>
                  <a:pt x="69072" y="39049"/>
                  <a:pt x="69111" y="39087"/>
                </a:cubicBezTo>
                <a:cubicBezTo>
                  <a:pt x="69302" y="39316"/>
                  <a:pt x="69340" y="39469"/>
                  <a:pt x="69072" y="39661"/>
                </a:cubicBezTo>
                <a:cubicBezTo>
                  <a:pt x="68996" y="39699"/>
                  <a:pt x="68958" y="39890"/>
                  <a:pt x="68996" y="40005"/>
                </a:cubicBezTo>
                <a:cubicBezTo>
                  <a:pt x="69149" y="40349"/>
                  <a:pt x="68728" y="40693"/>
                  <a:pt x="69034" y="41037"/>
                </a:cubicBezTo>
                <a:cubicBezTo>
                  <a:pt x="69034" y="41076"/>
                  <a:pt x="68996" y="41190"/>
                  <a:pt x="68958" y="41229"/>
                </a:cubicBezTo>
                <a:cubicBezTo>
                  <a:pt x="68575" y="41649"/>
                  <a:pt x="68690" y="42185"/>
                  <a:pt x="68575" y="42644"/>
                </a:cubicBezTo>
                <a:cubicBezTo>
                  <a:pt x="68422" y="43217"/>
                  <a:pt x="68307" y="43791"/>
                  <a:pt x="68193" y="44403"/>
                </a:cubicBezTo>
                <a:cubicBezTo>
                  <a:pt x="68078" y="44900"/>
                  <a:pt x="67849" y="45397"/>
                  <a:pt x="67696" y="45895"/>
                </a:cubicBezTo>
                <a:cubicBezTo>
                  <a:pt x="67657" y="46009"/>
                  <a:pt x="67619" y="46162"/>
                  <a:pt x="67696" y="46277"/>
                </a:cubicBezTo>
                <a:cubicBezTo>
                  <a:pt x="67772" y="46507"/>
                  <a:pt x="67657" y="46698"/>
                  <a:pt x="67504" y="46889"/>
                </a:cubicBezTo>
                <a:cubicBezTo>
                  <a:pt x="67390" y="47042"/>
                  <a:pt x="67198" y="47310"/>
                  <a:pt x="67275" y="47463"/>
                </a:cubicBezTo>
                <a:cubicBezTo>
                  <a:pt x="67390" y="47845"/>
                  <a:pt x="67160" y="48075"/>
                  <a:pt x="67007" y="48342"/>
                </a:cubicBezTo>
                <a:cubicBezTo>
                  <a:pt x="66816" y="48725"/>
                  <a:pt x="66663" y="49146"/>
                  <a:pt x="66510" y="49566"/>
                </a:cubicBezTo>
                <a:cubicBezTo>
                  <a:pt x="66280" y="50140"/>
                  <a:pt x="66089" y="50752"/>
                  <a:pt x="65592" y="51211"/>
                </a:cubicBezTo>
                <a:cubicBezTo>
                  <a:pt x="65477" y="51287"/>
                  <a:pt x="65439" y="51440"/>
                  <a:pt x="65363" y="51593"/>
                </a:cubicBezTo>
                <a:cubicBezTo>
                  <a:pt x="65286" y="51785"/>
                  <a:pt x="65248" y="52014"/>
                  <a:pt x="65095" y="52167"/>
                </a:cubicBezTo>
                <a:cubicBezTo>
                  <a:pt x="64904" y="52396"/>
                  <a:pt x="64674" y="52626"/>
                  <a:pt x="64674" y="52970"/>
                </a:cubicBezTo>
                <a:cubicBezTo>
                  <a:pt x="64674" y="53047"/>
                  <a:pt x="64559" y="53161"/>
                  <a:pt x="64483" y="53238"/>
                </a:cubicBezTo>
                <a:cubicBezTo>
                  <a:pt x="64139" y="53735"/>
                  <a:pt x="63794" y="54232"/>
                  <a:pt x="63603" y="54806"/>
                </a:cubicBezTo>
                <a:cubicBezTo>
                  <a:pt x="63527" y="54997"/>
                  <a:pt x="63374" y="55227"/>
                  <a:pt x="63221" y="55380"/>
                </a:cubicBezTo>
                <a:cubicBezTo>
                  <a:pt x="62838" y="55762"/>
                  <a:pt x="62571" y="56183"/>
                  <a:pt x="62303" y="56680"/>
                </a:cubicBezTo>
                <a:cubicBezTo>
                  <a:pt x="62150" y="56948"/>
                  <a:pt x="61882" y="57139"/>
                  <a:pt x="61691" y="57407"/>
                </a:cubicBezTo>
                <a:cubicBezTo>
                  <a:pt x="61385" y="57751"/>
                  <a:pt x="61079" y="58133"/>
                  <a:pt x="60773" y="58478"/>
                </a:cubicBezTo>
                <a:cubicBezTo>
                  <a:pt x="60238" y="59166"/>
                  <a:pt x="59817" y="59931"/>
                  <a:pt x="59052" y="60390"/>
                </a:cubicBezTo>
                <a:cubicBezTo>
                  <a:pt x="58708" y="61231"/>
                  <a:pt x="57752" y="61422"/>
                  <a:pt x="57293" y="62149"/>
                </a:cubicBezTo>
                <a:cubicBezTo>
                  <a:pt x="57293" y="62187"/>
                  <a:pt x="57254" y="62226"/>
                  <a:pt x="57216" y="62264"/>
                </a:cubicBezTo>
                <a:cubicBezTo>
                  <a:pt x="56948" y="62493"/>
                  <a:pt x="56566" y="62532"/>
                  <a:pt x="56375" y="62914"/>
                </a:cubicBezTo>
                <a:cubicBezTo>
                  <a:pt x="56222" y="63182"/>
                  <a:pt x="55839" y="63297"/>
                  <a:pt x="55572" y="63526"/>
                </a:cubicBezTo>
                <a:cubicBezTo>
                  <a:pt x="55189" y="63794"/>
                  <a:pt x="54730" y="63908"/>
                  <a:pt x="54386" y="64176"/>
                </a:cubicBezTo>
                <a:cubicBezTo>
                  <a:pt x="54003" y="64406"/>
                  <a:pt x="53659" y="64712"/>
                  <a:pt x="53315" y="64979"/>
                </a:cubicBezTo>
                <a:cubicBezTo>
                  <a:pt x="53124" y="65094"/>
                  <a:pt x="52933" y="65209"/>
                  <a:pt x="52741" y="65324"/>
                </a:cubicBezTo>
                <a:cubicBezTo>
                  <a:pt x="52129" y="65706"/>
                  <a:pt x="51517" y="66089"/>
                  <a:pt x="50906" y="66433"/>
                </a:cubicBezTo>
                <a:cubicBezTo>
                  <a:pt x="50600" y="66586"/>
                  <a:pt x="50332" y="66777"/>
                  <a:pt x="50026" y="66853"/>
                </a:cubicBezTo>
                <a:cubicBezTo>
                  <a:pt x="49605" y="66930"/>
                  <a:pt x="49299" y="67198"/>
                  <a:pt x="48955" y="67351"/>
                </a:cubicBezTo>
                <a:cubicBezTo>
                  <a:pt x="48267" y="67657"/>
                  <a:pt x="47540" y="67886"/>
                  <a:pt x="46851" y="68192"/>
                </a:cubicBezTo>
                <a:cubicBezTo>
                  <a:pt x="45819" y="68613"/>
                  <a:pt x="44710" y="68880"/>
                  <a:pt x="43639" y="69301"/>
                </a:cubicBezTo>
                <a:cubicBezTo>
                  <a:pt x="42950" y="69607"/>
                  <a:pt x="42147" y="69722"/>
                  <a:pt x="41344" y="69875"/>
                </a:cubicBezTo>
                <a:cubicBezTo>
                  <a:pt x="40856" y="69961"/>
                  <a:pt x="40347" y="70068"/>
                  <a:pt x="39817" y="70068"/>
                </a:cubicBezTo>
                <a:cubicBezTo>
                  <a:pt x="39640" y="70068"/>
                  <a:pt x="39460" y="70057"/>
                  <a:pt x="39279" y="70028"/>
                </a:cubicBezTo>
                <a:cubicBezTo>
                  <a:pt x="38667" y="70449"/>
                  <a:pt x="37902" y="70143"/>
                  <a:pt x="37213" y="70410"/>
                </a:cubicBezTo>
                <a:cubicBezTo>
                  <a:pt x="37123" y="70455"/>
                  <a:pt x="37022" y="70471"/>
                  <a:pt x="36913" y="70471"/>
                </a:cubicBezTo>
                <a:cubicBezTo>
                  <a:pt x="36744" y="70471"/>
                  <a:pt x="36558" y="70434"/>
                  <a:pt x="36372" y="70410"/>
                </a:cubicBezTo>
                <a:cubicBezTo>
                  <a:pt x="36121" y="70389"/>
                  <a:pt x="35859" y="70323"/>
                  <a:pt x="35592" y="70323"/>
                </a:cubicBezTo>
                <a:cubicBezTo>
                  <a:pt x="35370" y="70323"/>
                  <a:pt x="35144" y="70369"/>
                  <a:pt x="34919" y="70525"/>
                </a:cubicBezTo>
                <a:cubicBezTo>
                  <a:pt x="34908" y="70536"/>
                  <a:pt x="34890" y="70541"/>
                  <a:pt x="34869" y="70541"/>
                </a:cubicBezTo>
                <a:cubicBezTo>
                  <a:pt x="34820" y="70541"/>
                  <a:pt x="34755" y="70514"/>
                  <a:pt x="34728" y="70487"/>
                </a:cubicBezTo>
                <a:cubicBezTo>
                  <a:pt x="34636" y="70370"/>
                  <a:pt x="34527" y="70337"/>
                  <a:pt x="34413" y="70337"/>
                </a:cubicBezTo>
                <a:cubicBezTo>
                  <a:pt x="34266" y="70337"/>
                  <a:pt x="34110" y="70391"/>
                  <a:pt x="33970" y="70391"/>
                </a:cubicBezTo>
                <a:cubicBezTo>
                  <a:pt x="33898" y="70391"/>
                  <a:pt x="33831" y="70376"/>
                  <a:pt x="33771" y="70334"/>
                </a:cubicBezTo>
                <a:cubicBezTo>
                  <a:pt x="33650" y="70368"/>
                  <a:pt x="33531" y="70381"/>
                  <a:pt x="33414" y="70381"/>
                </a:cubicBezTo>
                <a:cubicBezTo>
                  <a:pt x="33047" y="70381"/>
                  <a:pt x="32694" y="70254"/>
                  <a:pt x="32343" y="70254"/>
                </a:cubicBezTo>
                <a:cubicBezTo>
                  <a:pt x="32309" y="70254"/>
                  <a:pt x="32275" y="70255"/>
                  <a:pt x="32242" y="70257"/>
                </a:cubicBezTo>
                <a:cubicBezTo>
                  <a:pt x="32190" y="70268"/>
                  <a:pt x="32139" y="70272"/>
                  <a:pt x="32089" y="70272"/>
                </a:cubicBezTo>
                <a:cubicBezTo>
                  <a:pt x="31951" y="70272"/>
                  <a:pt x="31818" y="70237"/>
                  <a:pt x="31706" y="70181"/>
                </a:cubicBezTo>
                <a:cubicBezTo>
                  <a:pt x="30750" y="69760"/>
                  <a:pt x="29756" y="69951"/>
                  <a:pt x="28761" y="69760"/>
                </a:cubicBezTo>
                <a:cubicBezTo>
                  <a:pt x="28417" y="69684"/>
                  <a:pt x="28034" y="69798"/>
                  <a:pt x="27690" y="69492"/>
                </a:cubicBezTo>
                <a:cubicBezTo>
                  <a:pt x="27681" y="69473"/>
                  <a:pt x="27659" y="69466"/>
                  <a:pt x="27630" y="69466"/>
                </a:cubicBezTo>
                <a:cubicBezTo>
                  <a:pt x="27544" y="69466"/>
                  <a:pt x="27394" y="69531"/>
                  <a:pt x="27308" y="69531"/>
                </a:cubicBezTo>
                <a:cubicBezTo>
                  <a:pt x="27215" y="69562"/>
                  <a:pt x="27072" y="69618"/>
                  <a:pt x="27001" y="69618"/>
                </a:cubicBezTo>
                <a:cubicBezTo>
                  <a:pt x="26984" y="69618"/>
                  <a:pt x="26971" y="69614"/>
                  <a:pt x="26964" y="69607"/>
                </a:cubicBezTo>
                <a:cubicBezTo>
                  <a:pt x="26581" y="69110"/>
                  <a:pt x="25816" y="69378"/>
                  <a:pt x="25434" y="68880"/>
                </a:cubicBezTo>
                <a:cubicBezTo>
                  <a:pt x="25426" y="68872"/>
                  <a:pt x="25414" y="68869"/>
                  <a:pt x="25400" y="68869"/>
                </a:cubicBezTo>
                <a:cubicBezTo>
                  <a:pt x="25361" y="68869"/>
                  <a:pt x="25302" y="68892"/>
                  <a:pt x="25238" y="68892"/>
                </a:cubicBezTo>
                <a:cubicBezTo>
                  <a:pt x="25215" y="68892"/>
                  <a:pt x="25190" y="68889"/>
                  <a:pt x="25166" y="68880"/>
                </a:cubicBezTo>
                <a:cubicBezTo>
                  <a:pt x="24784" y="68842"/>
                  <a:pt x="24363" y="68766"/>
                  <a:pt x="23980" y="68689"/>
                </a:cubicBezTo>
                <a:cubicBezTo>
                  <a:pt x="23904" y="68651"/>
                  <a:pt x="23827" y="68498"/>
                  <a:pt x="23789" y="68383"/>
                </a:cubicBezTo>
                <a:cubicBezTo>
                  <a:pt x="23728" y="68301"/>
                  <a:pt x="23699" y="68263"/>
                  <a:pt x="23633" y="68263"/>
                </a:cubicBezTo>
                <a:cubicBezTo>
                  <a:pt x="23576" y="68263"/>
                  <a:pt x="23490" y="68292"/>
                  <a:pt x="23330" y="68345"/>
                </a:cubicBezTo>
                <a:cubicBezTo>
                  <a:pt x="23254" y="68345"/>
                  <a:pt x="23101" y="68345"/>
                  <a:pt x="23062" y="68269"/>
                </a:cubicBezTo>
                <a:cubicBezTo>
                  <a:pt x="22835" y="68070"/>
                  <a:pt x="22608" y="67892"/>
                  <a:pt x="22318" y="67892"/>
                </a:cubicBezTo>
                <a:cubicBezTo>
                  <a:pt x="22218" y="67892"/>
                  <a:pt x="22110" y="67913"/>
                  <a:pt x="21992" y="67963"/>
                </a:cubicBezTo>
                <a:cubicBezTo>
                  <a:pt x="21972" y="67967"/>
                  <a:pt x="21952" y="67968"/>
                  <a:pt x="21933" y="67968"/>
                </a:cubicBezTo>
                <a:cubicBezTo>
                  <a:pt x="21762" y="67968"/>
                  <a:pt x="21601" y="67824"/>
                  <a:pt x="21533" y="67618"/>
                </a:cubicBezTo>
                <a:cubicBezTo>
                  <a:pt x="21512" y="67492"/>
                  <a:pt x="21491" y="67435"/>
                  <a:pt x="21431" y="67435"/>
                </a:cubicBezTo>
                <a:cubicBezTo>
                  <a:pt x="21383" y="67435"/>
                  <a:pt x="21309" y="67473"/>
                  <a:pt x="21188" y="67542"/>
                </a:cubicBezTo>
                <a:cubicBezTo>
                  <a:pt x="21173" y="67558"/>
                  <a:pt x="21137" y="67567"/>
                  <a:pt x="21098" y="67567"/>
                </a:cubicBezTo>
                <a:cubicBezTo>
                  <a:pt x="21043" y="67567"/>
                  <a:pt x="20981" y="67548"/>
                  <a:pt x="20959" y="67504"/>
                </a:cubicBezTo>
                <a:cubicBezTo>
                  <a:pt x="20855" y="67348"/>
                  <a:pt x="20751" y="67192"/>
                  <a:pt x="20587" y="67192"/>
                </a:cubicBezTo>
                <a:cubicBezTo>
                  <a:pt x="20510" y="67192"/>
                  <a:pt x="20419" y="67227"/>
                  <a:pt x="20309" y="67312"/>
                </a:cubicBezTo>
                <a:cubicBezTo>
                  <a:pt x="20305" y="67317"/>
                  <a:pt x="20299" y="67318"/>
                  <a:pt x="20291" y="67318"/>
                </a:cubicBezTo>
                <a:cubicBezTo>
                  <a:pt x="20230" y="67318"/>
                  <a:pt x="20063" y="67189"/>
                  <a:pt x="19926" y="67121"/>
                </a:cubicBezTo>
                <a:cubicBezTo>
                  <a:pt x="19735" y="66968"/>
                  <a:pt x="19544" y="66853"/>
                  <a:pt x="19314" y="66739"/>
                </a:cubicBezTo>
                <a:cubicBezTo>
                  <a:pt x="19272" y="66755"/>
                  <a:pt x="19234" y="66763"/>
                  <a:pt x="19199" y="66763"/>
                </a:cubicBezTo>
                <a:cubicBezTo>
                  <a:pt x="19073" y="66763"/>
                  <a:pt x="18983" y="66667"/>
                  <a:pt x="18894" y="66547"/>
                </a:cubicBezTo>
                <a:cubicBezTo>
                  <a:pt x="18205" y="66050"/>
                  <a:pt x="17555" y="65591"/>
                  <a:pt x="16867" y="65094"/>
                </a:cubicBezTo>
                <a:cubicBezTo>
                  <a:pt x="16752" y="65018"/>
                  <a:pt x="16599" y="64941"/>
                  <a:pt x="16484" y="64941"/>
                </a:cubicBezTo>
                <a:cubicBezTo>
                  <a:pt x="16216" y="64903"/>
                  <a:pt x="16408" y="64750"/>
                  <a:pt x="16369" y="64673"/>
                </a:cubicBezTo>
                <a:cubicBezTo>
                  <a:pt x="16255" y="64520"/>
                  <a:pt x="16102" y="64367"/>
                  <a:pt x="15949" y="64291"/>
                </a:cubicBezTo>
                <a:cubicBezTo>
                  <a:pt x="15605" y="64100"/>
                  <a:pt x="15260" y="63832"/>
                  <a:pt x="15031" y="63564"/>
                </a:cubicBezTo>
                <a:cubicBezTo>
                  <a:pt x="14916" y="63411"/>
                  <a:pt x="14687" y="63373"/>
                  <a:pt x="14572" y="63220"/>
                </a:cubicBezTo>
                <a:cubicBezTo>
                  <a:pt x="14419" y="63029"/>
                  <a:pt x="14075" y="63105"/>
                  <a:pt x="14036" y="62761"/>
                </a:cubicBezTo>
                <a:cubicBezTo>
                  <a:pt x="13998" y="62532"/>
                  <a:pt x="13769" y="62379"/>
                  <a:pt x="13616" y="62187"/>
                </a:cubicBezTo>
                <a:cubicBezTo>
                  <a:pt x="13539" y="62111"/>
                  <a:pt x="13501" y="62073"/>
                  <a:pt x="13425" y="61996"/>
                </a:cubicBezTo>
                <a:cubicBezTo>
                  <a:pt x="13333" y="62111"/>
                  <a:pt x="13261" y="62153"/>
                  <a:pt x="13207" y="62153"/>
                </a:cubicBezTo>
                <a:cubicBezTo>
                  <a:pt x="13079" y="62153"/>
                  <a:pt x="13042" y="61923"/>
                  <a:pt x="13042" y="61843"/>
                </a:cubicBezTo>
                <a:cubicBezTo>
                  <a:pt x="13080" y="61461"/>
                  <a:pt x="12813" y="61270"/>
                  <a:pt x="12583" y="61155"/>
                </a:cubicBezTo>
                <a:cubicBezTo>
                  <a:pt x="12201" y="60964"/>
                  <a:pt x="11818" y="60811"/>
                  <a:pt x="11703" y="60352"/>
                </a:cubicBezTo>
                <a:cubicBezTo>
                  <a:pt x="11665" y="60313"/>
                  <a:pt x="11589" y="60237"/>
                  <a:pt x="11550" y="60237"/>
                </a:cubicBezTo>
                <a:cubicBezTo>
                  <a:pt x="11168" y="60160"/>
                  <a:pt x="11015" y="59854"/>
                  <a:pt x="10824" y="59625"/>
                </a:cubicBezTo>
                <a:cubicBezTo>
                  <a:pt x="10441" y="59166"/>
                  <a:pt x="10174" y="58592"/>
                  <a:pt x="9600" y="58286"/>
                </a:cubicBezTo>
                <a:cubicBezTo>
                  <a:pt x="9409" y="58172"/>
                  <a:pt x="9294" y="57866"/>
                  <a:pt x="9141" y="57674"/>
                </a:cubicBezTo>
                <a:cubicBezTo>
                  <a:pt x="8950" y="57292"/>
                  <a:pt x="8988" y="57292"/>
                  <a:pt x="8376" y="56871"/>
                </a:cubicBezTo>
                <a:cubicBezTo>
                  <a:pt x="8338" y="56833"/>
                  <a:pt x="8261" y="56795"/>
                  <a:pt x="8261" y="56795"/>
                </a:cubicBezTo>
                <a:cubicBezTo>
                  <a:pt x="8300" y="56183"/>
                  <a:pt x="7764" y="55992"/>
                  <a:pt x="7458" y="55647"/>
                </a:cubicBezTo>
                <a:cubicBezTo>
                  <a:pt x="7305" y="55418"/>
                  <a:pt x="7114" y="55227"/>
                  <a:pt x="7114" y="54921"/>
                </a:cubicBezTo>
                <a:cubicBezTo>
                  <a:pt x="7114" y="54576"/>
                  <a:pt x="6961" y="54347"/>
                  <a:pt x="6693" y="54118"/>
                </a:cubicBezTo>
                <a:cubicBezTo>
                  <a:pt x="6196" y="53735"/>
                  <a:pt x="5890" y="53238"/>
                  <a:pt x="5775" y="52588"/>
                </a:cubicBezTo>
                <a:cubicBezTo>
                  <a:pt x="5737" y="52473"/>
                  <a:pt x="5737" y="52320"/>
                  <a:pt x="5661" y="52243"/>
                </a:cubicBezTo>
                <a:cubicBezTo>
                  <a:pt x="5202" y="51899"/>
                  <a:pt x="5049" y="51326"/>
                  <a:pt x="4704" y="50905"/>
                </a:cubicBezTo>
                <a:cubicBezTo>
                  <a:pt x="4245" y="50255"/>
                  <a:pt x="3978" y="49451"/>
                  <a:pt x="3634" y="48687"/>
                </a:cubicBezTo>
                <a:cubicBezTo>
                  <a:pt x="3519" y="48457"/>
                  <a:pt x="3519" y="48151"/>
                  <a:pt x="3366" y="47922"/>
                </a:cubicBezTo>
                <a:cubicBezTo>
                  <a:pt x="3175" y="47654"/>
                  <a:pt x="3175" y="47386"/>
                  <a:pt x="3136" y="47080"/>
                </a:cubicBezTo>
                <a:cubicBezTo>
                  <a:pt x="3098" y="46774"/>
                  <a:pt x="3022" y="46507"/>
                  <a:pt x="2907" y="46201"/>
                </a:cubicBezTo>
                <a:cubicBezTo>
                  <a:pt x="2830" y="46048"/>
                  <a:pt x="2563" y="45780"/>
                  <a:pt x="2601" y="45742"/>
                </a:cubicBezTo>
                <a:cubicBezTo>
                  <a:pt x="2792" y="45436"/>
                  <a:pt x="2410" y="45436"/>
                  <a:pt x="2410" y="45359"/>
                </a:cubicBezTo>
                <a:cubicBezTo>
                  <a:pt x="2410" y="44747"/>
                  <a:pt x="2180" y="44212"/>
                  <a:pt x="2104" y="43638"/>
                </a:cubicBezTo>
                <a:cubicBezTo>
                  <a:pt x="1989" y="43179"/>
                  <a:pt x="2180" y="42644"/>
                  <a:pt x="1759" y="42223"/>
                </a:cubicBezTo>
                <a:cubicBezTo>
                  <a:pt x="1721" y="42147"/>
                  <a:pt x="1683" y="41994"/>
                  <a:pt x="1721" y="41879"/>
                </a:cubicBezTo>
                <a:cubicBezTo>
                  <a:pt x="1798" y="41649"/>
                  <a:pt x="1759" y="41458"/>
                  <a:pt x="1530" y="41305"/>
                </a:cubicBezTo>
                <a:cubicBezTo>
                  <a:pt x="1721" y="41152"/>
                  <a:pt x="1759" y="41037"/>
                  <a:pt x="1530" y="40884"/>
                </a:cubicBezTo>
                <a:cubicBezTo>
                  <a:pt x="1492" y="40846"/>
                  <a:pt x="1454" y="40731"/>
                  <a:pt x="1454" y="40655"/>
                </a:cubicBezTo>
                <a:cubicBezTo>
                  <a:pt x="1606" y="39966"/>
                  <a:pt x="1148" y="39393"/>
                  <a:pt x="1148" y="38743"/>
                </a:cubicBezTo>
                <a:cubicBezTo>
                  <a:pt x="1148" y="38092"/>
                  <a:pt x="1148" y="37442"/>
                  <a:pt x="1071" y="36792"/>
                </a:cubicBezTo>
                <a:cubicBezTo>
                  <a:pt x="956" y="36142"/>
                  <a:pt x="1071" y="35453"/>
                  <a:pt x="956" y="34803"/>
                </a:cubicBezTo>
                <a:cubicBezTo>
                  <a:pt x="880" y="34383"/>
                  <a:pt x="1109" y="33885"/>
                  <a:pt x="1148" y="33465"/>
                </a:cubicBezTo>
                <a:cubicBezTo>
                  <a:pt x="1186" y="33044"/>
                  <a:pt x="1071" y="32623"/>
                  <a:pt x="1186" y="32279"/>
                </a:cubicBezTo>
                <a:cubicBezTo>
                  <a:pt x="1339" y="31858"/>
                  <a:pt x="995" y="31514"/>
                  <a:pt x="1224" y="31132"/>
                </a:cubicBezTo>
                <a:cubicBezTo>
                  <a:pt x="1262" y="31055"/>
                  <a:pt x="1224" y="30979"/>
                  <a:pt x="1224" y="30902"/>
                </a:cubicBezTo>
                <a:cubicBezTo>
                  <a:pt x="1224" y="30596"/>
                  <a:pt x="1568" y="30443"/>
                  <a:pt x="1454" y="30099"/>
                </a:cubicBezTo>
                <a:cubicBezTo>
                  <a:pt x="1377" y="29870"/>
                  <a:pt x="1454" y="29564"/>
                  <a:pt x="1492" y="29296"/>
                </a:cubicBezTo>
                <a:cubicBezTo>
                  <a:pt x="1492" y="29219"/>
                  <a:pt x="1530" y="29066"/>
                  <a:pt x="1568" y="29028"/>
                </a:cubicBezTo>
                <a:cubicBezTo>
                  <a:pt x="1836" y="28990"/>
                  <a:pt x="1759" y="28875"/>
                  <a:pt x="1683" y="28722"/>
                </a:cubicBezTo>
                <a:cubicBezTo>
                  <a:pt x="1606" y="28607"/>
                  <a:pt x="1568" y="28493"/>
                  <a:pt x="1530" y="28416"/>
                </a:cubicBezTo>
                <a:cubicBezTo>
                  <a:pt x="1606" y="28378"/>
                  <a:pt x="1759" y="28378"/>
                  <a:pt x="1759" y="28340"/>
                </a:cubicBezTo>
                <a:cubicBezTo>
                  <a:pt x="1798" y="28110"/>
                  <a:pt x="1798" y="27881"/>
                  <a:pt x="1836" y="27651"/>
                </a:cubicBezTo>
                <a:cubicBezTo>
                  <a:pt x="1874" y="27422"/>
                  <a:pt x="1874" y="27192"/>
                  <a:pt x="1951" y="26925"/>
                </a:cubicBezTo>
                <a:cubicBezTo>
                  <a:pt x="2065" y="26542"/>
                  <a:pt x="2257" y="26160"/>
                  <a:pt x="2257" y="25739"/>
                </a:cubicBezTo>
                <a:cubicBezTo>
                  <a:pt x="2257" y="25483"/>
                  <a:pt x="2152" y="25086"/>
                  <a:pt x="2578" y="25086"/>
                </a:cubicBezTo>
                <a:cubicBezTo>
                  <a:pt x="2598" y="25086"/>
                  <a:pt x="2618" y="25087"/>
                  <a:pt x="2639" y="25089"/>
                </a:cubicBezTo>
                <a:cubicBezTo>
                  <a:pt x="2677" y="25089"/>
                  <a:pt x="2754" y="24974"/>
                  <a:pt x="2716" y="24974"/>
                </a:cubicBezTo>
                <a:cubicBezTo>
                  <a:pt x="2601" y="24553"/>
                  <a:pt x="2983" y="24324"/>
                  <a:pt x="2983" y="23903"/>
                </a:cubicBezTo>
                <a:cubicBezTo>
                  <a:pt x="2907" y="23138"/>
                  <a:pt x="3289" y="22412"/>
                  <a:pt x="3787" y="21800"/>
                </a:cubicBezTo>
                <a:cubicBezTo>
                  <a:pt x="3901" y="21608"/>
                  <a:pt x="3978" y="21494"/>
                  <a:pt x="3978" y="21226"/>
                </a:cubicBezTo>
                <a:cubicBezTo>
                  <a:pt x="4016" y="20882"/>
                  <a:pt x="4284" y="20461"/>
                  <a:pt x="4513" y="20193"/>
                </a:cubicBezTo>
                <a:cubicBezTo>
                  <a:pt x="4666" y="20002"/>
                  <a:pt x="4819" y="19887"/>
                  <a:pt x="4857" y="19658"/>
                </a:cubicBezTo>
                <a:cubicBezTo>
                  <a:pt x="5010" y="19122"/>
                  <a:pt x="5355" y="18740"/>
                  <a:pt x="5814" y="18319"/>
                </a:cubicBezTo>
                <a:cubicBezTo>
                  <a:pt x="5852" y="18281"/>
                  <a:pt x="5890" y="18281"/>
                  <a:pt x="5928" y="18243"/>
                </a:cubicBezTo>
                <a:cubicBezTo>
                  <a:pt x="6005" y="17822"/>
                  <a:pt x="6158" y="17440"/>
                  <a:pt x="6578" y="17248"/>
                </a:cubicBezTo>
                <a:cubicBezTo>
                  <a:pt x="6540" y="16789"/>
                  <a:pt x="6999" y="16560"/>
                  <a:pt x="7114" y="16177"/>
                </a:cubicBezTo>
                <a:cubicBezTo>
                  <a:pt x="7267" y="15833"/>
                  <a:pt x="7420" y="15604"/>
                  <a:pt x="7649" y="15336"/>
                </a:cubicBezTo>
                <a:cubicBezTo>
                  <a:pt x="8376" y="14648"/>
                  <a:pt x="8873" y="13768"/>
                  <a:pt x="9600" y="13041"/>
                </a:cubicBezTo>
                <a:cubicBezTo>
                  <a:pt x="9868" y="12774"/>
                  <a:pt x="10059" y="12353"/>
                  <a:pt x="10441" y="12085"/>
                </a:cubicBezTo>
                <a:cubicBezTo>
                  <a:pt x="10747" y="11856"/>
                  <a:pt x="11015" y="11511"/>
                  <a:pt x="11283" y="11205"/>
                </a:cubicBezTo>
                <a:cubicBezTo>
                  <a:pt x="11780" y="10708"/>
                  <a:pt x="12277" y="10173"/>
                  <a:pt x="12889" y="9752"/>
                </a:cubicBezTo>
                <a:cubicBezTo>
                  <a:pt x="13654" y="9217"/>
                  <a:pt x="14342" y="8490"/>
                  <a:pt x="15260" y="8069"/>
                </a:cubicBezTo>
                <a:cubicBezTo>
                  <a:pt x="15681" y="7916"/>
                  <a:pt x="16063" y="7572"/>
                  <a:pt x="16446" y="7266"/>
                </a:cubicBezTo>
                <a:cubicBezTo>
                  <a:pt x="17173" y="6807"/>
                  <a:pt x="17861" y="6272"/>
                  <a:pt x="18626" y="5813"/>
                </a:cubicBezTo>
                <a:cubicBezTo>
                  <a:pt x="19506" y="5277"/>
                  <a:pt x="20462" y="4818"/>
                  <a:pt x="21456" y="4474"/>
                </a:cubicBezTo>
                <a:cubicBezTo>
                  <a:pt x="22068" y="4283"/>
                  <a:pt x="22680" y="3977"/>
                  <a:pt x="23292" y="3747"/>
                </a:cubicBezTo>
                <a:cubicBezTo>
                  <a:pt x="23827" y="3556"/>
                  <a:pt x="24325" y="3327"/>
                  <a:pt x="24860" y="3212"/>
                </a:cubicBezTo>
                <a:cubicBezTo>
                  <a:pt x="25166" y="3174"/>
                  <a:pt x="25472" y="3097"/>
                  <a:pt x="25740" y="2868"/>
                </a:cubicBezTo>
                <a:cubicBezTo>
                  <a:pt x="25839" y="2802"/>
                  <a:pt x="25966" y="2707"/>
                  <a:pt x="26073" y="2707"/>
                </a:cubicBezTo>
                <a:cubicBezTo>
                  <a:pt x="26090" y="2707"/>
                  <a:pt x="26106" y="2710"/>
                  <a:pt x="26122" y="2715"/>
                </a:cubicBezTo>
                <a:cubicBezTo>
                  <a:pt x="26211" y="2742"/>
                  <a:pt x="26297" y="2754"/>
                  <a:pt x="26381" y="2754"/>
                </a:cubicBezTo>
                <a:cubicBezTo>
                  <a:pt x="26769" y="2754"/>
                  <a:pt x="27115" y="2510"/>
                  <a:pt x="27461" y="2447"/>
                </a:cubicBezTo>
                <a:cubicBezTo>
                  <a:pt x="27881" y="2332"/>
                  <a:pt x="28340" y="2332"/>
                  <a:pt x="28723" y="2103"/>
                </a:cubicBezTo>
                <a:cubicBezTo>
                  <a:pt x="29067" y="1950"/>
                  <a:pt x="29411" y="1797"/>
                  <a:pt x="29756" y="1797"/>
                </a:cubicBezTo>
                <a:cubicBezTo>
                  <a:pt x="30031" y="1797"/>
                  <a:pt x="30331" y="1846"/>
                  <a:pt x="30616" y="1846"/>
                </a:cubicBezTo>
                <a:cubicBezTo>
                  <a:pt x="30687" y="1846"/>
                  <a:pt x="30758" y="1843"/>
                  <a:pt x="30826" y="1835"/>
                </a:cubicBezTo>
                <a:cubicBezTo>
                  <a:pt x="31056" y="1835"/>
                  <a:pt x="31247" y="1720"/>
                  <a:pt x="31477" y="1682"/>
                </a:cubicBezTo>
                <a:cubicBezTo>
                  <a:pt x="31974" y="1606"/>
                  <a:pt x="32509" y="1529"/>
                  <a:pt x="33045" y="1529"/>
                </a:cubicBezTo>
                <a:cubicBezTo>
                  <a:pt x="33300" y="1529"/>
                  <a:pt x="33555" y="1427"/>
                  <a:pt x="33810" y="1427"/>
                </a:cubicBezTo>
                <a:cubicBezTo>
                  <a:pt x="33937" y="1427"/>
                  <a:pt x="34065" y="1453"/>
                  <a:pt x="34192" y="1529"/>
                </a:cubicBezTo>
                <a:cubicBezTo>
                  <a:pt x="34479" y="1357"/>
                  <a:pt x="34794" y="1348"/>
                  <a:pt x="35110" y="1348"/>
                </a:cubicBezTo>
                <a:cubicBezTo>
                  <a:pt x="35149" y="1348"/>
                  <a:pt x="35189" y="1348"/>
                  <a:pt x="35228" y="1348"/>
                </a:cubicBezTo>
                <a:cubicBezTo>
                  <a:pt x="35504" y="1348"/>
                  <a:pt x="35777" y="1340"/>
                  <a:pt x="36028" y="1223"/>
                </a:cubicBezTo>
                <a:cubicBezTo>
                  <a:pt x="36082" y="1196"/>
                  <a:pt x="36136" y="1169"/>
                  <a:pt x="36190" y="1169"/>
                </a:cubicBezTo>
                <a:close/>
                <a:moveTo>
                  <a:pt x="33072" y="1"/>
                </a:moveTo>
                <a:cubicBezTo>
                  <a:pt x="32808" y="1"/>
                  <a:pt x="32544" y="70"/>
                  <a:pt x="32280" y="114"/>
                </a:cubicBezTo>
                <a:cubicBezTo>
                  <a:pt x="32010" y="174"/>
                  <a:pt x="31716" y="352"/>
                  <a:pt x="31399" y="352"/>
                </a:cubicBezTo>
                <a:cubicBezTo>
                  <a:pt x="31312" y="352"/>
                  <a:pt x="31223" y="338"/>
                  <a:pt x="31132" y="305"/>
                </a:cubicBezTo>
                <a:cubicBezTo>
                  <a:pt x="31127" y="300"/>
                  <a:pt x="31120" y="298"/>
                  <a:pt x="31112" y="298"/>
                </a:cubicBezTo>
                <a:cubicBezTo>
                  <a:pt x="31061" y="298"/>
                  <a:pt x="30963" y="382"/>
                  <a:pt x="30865" y="382"/>
                </a:cubicBezTo>
                <a:cubicBezTo>
                  <a:pt x="30750" y="420"/>
                  <a:pt x="30597" y="420"/>
                  <a:pt x="30482" y="458"/>
                </a:cubicBezTo>
                <a:cubicBezTo>
                  <a:pt x="30355" y="458"/>
                  <a:pt x="30227" y="441"/>
                  <a:pt x="30088" y="441"/>
                </a:cubicBezTo>
                <a:cubicBezTo>
                  <a:pt x="30019" y="441"/>
                  <a:pt x="29947" y="446"/>
                  <a:pt x="29870" y="458"/>
                </a:cubicBezTo>
                <a:cubicBezTo>
                  <a:pt x="29449" y="491"/>
                  <a:pt x="29055" y="798"/>
                  <a:pt x="28596" y="798"/>
                </a:cubicBezTo>
                <a:cubicBezTo>
                  <a:pt x="28513" y="798"/>
                  <a:pt x="28428" y="788"/>
                  <a:pt x="28340" y="764"/>
                </a:cubicBezTo>
                <a:cubicBezTo>
                  <a:pt x="28302" y="764"/>
                  <a:pt x="28226" y="803"/>
                  <a:pt x="28226" y="841"/>
                </a:cubicBezTo>
                <a:cubicBezTo>
                  <a:pt x="27996" y="1147"/>
                  <a:pt x="27652" y="1070"/>
                  <a:pt x="27346" y="1109"/>
                </a:cubicBezTo>
                <a:cubicBezTo>
                  <a:pt x="26887" y="1147"/>
                  <a:pt x="26505" y="1223"/>
                  <a:pt x="26084" y="1453"/>
                </a:cubicBezTo>
                <a:cubicBezTo>
                  <a:pt x="25951" y="1586"/>
                  <a:pt x="25732" y="1690"/>
                  <a:pt x="25551" y="1690"/>
                </a:cubicBezTo>
                <a:cubicBezTo>
                  <a:pt x="25524" y="1690"/>
                  <a:pt x="25497" y="1687"/>
                  <a:pt x="25472" y="1682"/>
                </a:cubicBezTo>
                <a:cubicBezTo>
                  <a:pt x="25352" y="1662"/>
                  <a:pt x="25232" y="1601"/>
                  <a:pt x="25134" y="1601"/>
                </a:cubicBezTo>
                <a:cubicBezTo>
                  <a:pt x="25045" y="1601"/>
                  <a:pt x="24973" y="1652"/>
                  <a:pt x="24937" y="1835"/>
                </a:cubicBezTo>
                <a:cubicBezTo>
                  <a:pt x="24881" y="1798"/>
                  <a:pt x="24833" y="1784"/>
                  <a:pt x="24789" y="1784"/>
                </a:cubicBezTo>
                <a:cubicBezTo>
                  <a:pt x="24650" y="1784"/>
                  <a:pt x="24556" y="1930"/>
                  <a:pt x="24439" y="1988"/>
                </a:cubicBezTo>
                <a:cubicBezTo>
                  <a:pt x="24248" y="2103"/>
                  <a:pt x="23980" y="2065"/>
                  <a:pt x="23789" y="2141"/>
                </a:cubicBezTo>
                <a:cubicBezTo>
                  <a:pt x="23368" y="2256"/>
                  <a:pt x="22948" y="2409"/>
                  <a:pt x="22527" y="2600"/>
                </a:cubicBezTo>
                <a:cubicBezTo>
                  <a:pt x="22106" y="2753"/>
                  <a:pt x="21724" y="2983"/>
                  <a:pt x="21303" y="3174"/>
                </a:cubicBezTo>
                <a:cubicBezTo>
                  <a:pt x="21035" y="3289"/>
                  <a:pt x="20729" y="3365"/>
                  <a:pt x="20500" y="3556"/>
                </a:cubicBezTo>
                <a:cubicBezTo>
                  <a:pt x="19850" y="4130"/>
                  <a:pt x="18932" y="4206"/>
                  <a:pt x="18243" y="4742"/>
                </a:cubicBezTo>
                <a:cubicBezTo>
                  <a:pt x="17823" y="5086"/>
                  <a:pt x="17211" y="5124"/>
                  <a:pt x="16790" y="5430"/>
                </a:cubicBezTo>
                <a:cubicBezTo>
                  <a:pt x="16255" y="5851"/>
                  <a:pt x="15528" y="6080"/>
                  <a:pt x="15184" y="6769"/>
                </a:cubicBezTo>
                <a:cubicBezTo>
                  <a:pt x="15146" y="6807"/>
                  <a:pt x="14993" y="6807"/>
                  <a:pt x="14916" y="6884"/>
                </a:cubicBezTo>
                <a:cubicBezTo>
                  <a:pt x="14534" y="7113"/>
                  <a:pt x="14151" y="7381"/>
                  <a:pt x="13769" y="7649"/>
                </a:cubicBezTo>
                <a:cubicBezTo>
                  <a:pt x="13386" y="7955"/>
                  <a:pt x="13080" y="8375"/>
                  <a:pt x="12583" y="8452"/>
                </a:cubicBezTo>
                <a:cubicBezTo>
                  <a:pt x="12545" y="8452"/>
                  <a:pt x="12507" y="8528"/>
                  <a:pt x="12468" y="8566"/>
                </a:cubicBezTo>
                <a:cubicBezTo>
                  <a:pt x="12124" y="9064"/>
                  <a:pt x="11436" y="9255"/>
                  <a:pt x="11244" y="9943"/>
                </a:cubicBezTo>
                <a:cubicBezTo>
                  <a:pt x="10824" y="10173"/>
                  <a:pt x="10480" y="10517"/>
                  <a:pt x="10288" y="10976"/>
                </a:cubicBezTo>
                <a:cubicBezTo>
                  <a:pt x="10212" y="11167"/>
                  <a:pt x="9906" y="11244"/>
                  <a:pt x="9791" y="11397"/>
                </a:cubicBezTo>
                <a:cubicBezTo>
                  <a:pt x="9409" y="12162"/>
                  <a:pt x="8644" y="12582"/>
                  <a:pt x="8185" y="13233"/>
                </a:cubicBezTo>
                <a:cubicBezTo>
                  <a:pt x="7764" y="13844"/>
                  <a:pt x="7190" y="14342"/>
                  <a:pt x="6693" y="14915"/>
                </a:cubicBezTo>
                <a:cubicBezTo>
                  <a:pt x="6273" y="15451"/>
                  <a:pt x="5814" y="15986"/>
                  <a:pt x="5622" y="16675"/>
                </a:cubicBezTo>
                <a:cubicBezTo>
                  <a:pt x="5508" y="17057"/>
                  <a:pt x="5316" y="17440"/>
                  <a:pt x="5010" y="17631"/>
                </a:cubicBezTo>
                <a:cubicBezTo>
                  <a:pt x="4398" y="18052"/>
                  <a:pt x="4398" y="18855"/>
                  <a:pt x="3863" y="19314"/>
                </a:cubicBezTo>
                <a:cubicBezTo>
                  <a:pt x="3595" y="19543"/>
                  <a:pt x="3519" y="19964"/>
                  <a:pt x="3366" y="20308"/>
                </a:cubicBezTo>
                <a:cubicBezTo>
                  <a:pt x="3213" y="20652"/>
                  <a:pt x="3136" y="21073"/>
                  <a:pt x="2907" y="21341"/>
                </a:cubicBezTo>
                <a:cubicBezTo>
                  <a:pt x="2601" y="21685"/>
                  <a:pt x="2677" y="22067"/>
                  <a:pt x="2524" y="22412"/>
                </a:cubicBezTo>
                <a:cubicBezTo>
                  <a:pt x="2142" y="23215"/>
                  <a:pt x="1874" y="24094"/>
                  <a:pt x="1606" y="24936"/>
                </a:cubicBezTo>
                <a:cubicBezTo>
                  <a:pt x="1454" y="25395"/>
                  <a:pt x="1262" y="25892"/>
                  <a:pt x="1109" y="26389"/>
                </a:cubicBezTo>
                <a:cubicBezTo>
                  <a:pt x="956" y="26886"/>
                  <a:pt x="880" y="27422"/>
                  <a:pt x="765" y="27957"/>
                </a:cubicBezTo>
                <a:cubicBezTo>
                  <a:pt x="727" y="28301"/>
                  <a:pt x="765" y="28684"/>
                  <a:pt x="612" y="28952"/>
                </a:cubicBezTo>
                <a:cubicBezTo>
                  <a:pt x="459" y="29258"/>
                  <a:pt x="880" y="29640"/>
                  <a:pt x="459" y="29908"/>
                </a:cubicBezTo>
                <a:cubicBezTo>
                  <a:pt x="536" y="30328"/>
                  <a:pt x="459" y="30711"/>
                  <a:pt x="191" y="31055"/>
                </a:cubicBezTo>
                <a:cubicBezTo>
                  <a:pt x="191" y="31055"/>
                  <a:pt x="191" y="31132"/>
                  <a:pt x="191" y="31132"/>
                </a:cubicBezTo>
                <a:cubicBezTo>
                  <a:pt x="574" y="31170"/>
                  <a:pt x="230" y="31438"/>
                  <a:pt x="306" y="31629"/>
                </a:cubicBezTo>
                <a:cubicBezTo>
                  <a:pt x="421" y="31820"/>
                  <a:pt x="344" y="32126"/>
                  <a:pt x="268" y="32356"/>
                </a:cubicBezTo>
                <a:cubicBezTo>
                  <a:pt x="38" y="33426"/>
                  <a:pt x="77" y="34574"/>
                  <a:pt x="0" y="35683"/>
                </a:cubicBezTo>
                <a:cubicBezTo>
                  <a:pt x="0" y="35951"/>
                  <a:pt x="115" y="36257"/>
                  <a:pt x="77" y="36563"/>
                </a:cubicBezTo>
                <a:cubicBezTo>
                  <a:pt x="38" y="36983"/>
                  <a:pt x="38" y="37366"/>
                  <a:pt x="115" y="37748"/>
                </a:cubicBezTo>
                <a:cubicBezTo>
                  <a:pt x="191" y="38131"/>
                  <a:pt x="306" y="38513"/>
                  <a:pt x="230" y="38819"/>
                </a:cubicBezTo>
                <a:cubicBezTo>
                  <a:pt x="153" y="39202"/>
                  <a:pt x="230" y="39508"/>
                  <a:pt x="268" y="39813"/>
                </a:cubicBezTo>
                <a:cubicBezTo>
                  <a:pt x="306" y="40081"/>
                  <a:pt x="536" y="40311"/>
                  <a:pt x="344" y="40578"/>
                </a:cubicBezTo>
                <a:cubicBezTo>
                  <a:pt x="306" y="40655"/>
                  <a:pt x="383" y="40770"/>
                  <a:pt x="421" y="40846"/>
                </a:cubicBezTo>
                <a:cubicBezTo>
                  <a:pt x="459" y="40999"/>
                  <a:pt x="574" y="41152"/>
                  <a:pt x="574" y="41305"/>
                </a:cubicBezTo>
                <a:cubicBezTo>
                  <a:pt x="689" y="41841"/>
                  <a:pt x="574" y="42452"/>
                  <a:pt x="880" y="42950"/>
                </a:cubicBezTo>
                <a:cubicBezTo>
                  <a:pt x="956" y="43026"/>
                  <a:pt x="918" y="43179"/>
                  <a:pt x="918" y="43256"/>
                </a:cubicBezTo>
                <a:cubicBezTo>
                  <a:pt x="918" y="43753"/>
                  <a:pt x="1071" y="44365"/>
                  <a:pt x="1262" y="44977"/>
                </a:cubicBezTo>
                <a:cubicBezTo>
                  <a:pt x="1377" y="45397"/>
                  <a:pt x="1377" y="45856"/>
                  <a:pt x="1683" y="46201"/>
                </a:cubicBezTo>
                <a:cubicBezTo>
                  <a:pt x="1492" y="46698"/>
                  <a:pt x="1989" y="46966"/>
                  <a:pt x="1989" y="47424"/>
                </a:cubicBezTo>
                <a:cubicBezTo>
                  <a:pt x="1989" y="47654"/>
                  <a:pt x="2104" y="47883"/>
                  <a:pt x="2180" y="48113"/>
                </a:cubicBezTo>
                <a:cubicBezTo>
                  <a:pt x="2486" y="48801"/>
                  <a:pt x="2677" y="49528"/>
                  <a:pt x="3022" y="50216"/>
                </a:cubicBezTo>
                <a:cubicBezTo>
                  <a:pt x="3175" y="50484"/>
                  <a:pt x="3328" y="50828"/>
                  <a:pt x="3442" y="51134"/>
                </a:cubicBezTo>
                <a:cubicBezTo>
                  <a:pt x="3557" y="51402"/>
                  <a:pt x="3595" y="51785"/>
                  <a:pt x="3901" y="51899"/>
                </a:cubicBezTo>
                <a:cubicBezTo>
                  <a:pt x="4284" y="52090"/>
                  <a:pt x="4131" y="52473"/>
                  <a:pt x="4360" y="52741"/>
                </a:cubicBezTo>
                <a:cubicBezTo>
                  <a:pt x="4590" y="53008"/>
                  <a:pt x="4743" y="53391"/>
                  <a:pt x="4972" y="53697"/>
                </a:cubicBezTo>
                <a:cubicBezTo>
                  <a:pt x="5202" y="54041"/>
                  <a:pt x="5125" y="54538"/>
                  <a:pt x="5622" y="54729"/>
                </a:cubicBezTo>
                <a:cubicBezTo>
                  <a:pt x="5699" y="54768"/>
                  <a:pt x="5737" y="54997"/>
                  <a:pt x="5775" y="55112"/>
                </a:cubicBezTo>
                <a:cubicBezTo>
                  <a:pt x="5890" y="55303"/>
                  <a:pt x="5928" y="55533"/>
                  <a:pt x="6043" y="55686"/>
                </a:cubicBezTo>
                <a:cubicBezTo>
                  <a:pt x="6655" y="56374"/>
                  <a:pt x="7076" y="57254"/>
                  <a:pt x="7726" y="57942"/>
                </a:cubicBezTo>
                <a:cubicBezTo>
                  <a:pt x="8414" y="58669"/>
                  <a:pt x="9064" y="59472"/>
                  <a:pt x="9676" y="60313"/>
                </a:cubicBezTo>
                <a:cubicBezTo>
                  <a:pt x="9868" y="60543"/>
                  <a:pt x="10212" y="60543"/>
                  <a:pt x="10288" y="60772"/>
                </a:cubicBezTo>
                <a:cubicBezTo>
                  <a:pt x="10518" y="61422"/>
                  <a:pt x="11283" y="61499"/>
                  <a:pt x="11512" y="62111"/>
                </a:cubicBezTo>
                <a:cubicBezTo>
                  <a:pt x="12354" y="62646"/>
                  <a:pt x="12927" y="63488"/>
                  <a:pt x="13654" y="64176"/>
                </a:cubicBezTo>
                <a:cubicBezTo>
                  <a:pt x="14036" y="64520"/>
                  <a:pt x="14457" y="64865"/>
                  <a:pt x="14878" y="65209"/>
                </a:cubicBezTo>
                <a:cubicBezTo>
                  <a:pt x="15031" y="65324"/>
                  <a:pt x="15260" y="65400"/>
                  <a:pt x="15413" y="65515"/>
                </a:cubicBezTo>
                <a:cubicBezTo>
                  <a:pt x="16102" y="66012"/>
                  <a:pt x="16790" y="66586"/>
                  <a:pt x="17670" y="66853"/>
                </a:cubicBezTo>
                <a:cubicBezTo>
                  <a:pt x="17710" y="66853"/>
                  <a:pt x="17789" y="66839"/>
                  <a:pt x="17870" y="66839"/>
                </a:cubicBezTo>
                <a:cubicBezTo>
                  <a:pt x="18020" y="66839"/>
                  <a:pt x="18178" y="66887"/>
                  <a:pt x="18129" y="67159"/>
                </a:cubicBezTo>
                <a:cubicBezTo>
                  <a:pt x="18129" y="67198"/>
                  <a:pt x="18320" y="67236"/>
                  <a:pt x="18435" y="67274"/>
                </a:cubicBezTo>
                <a:cubicBezTo>
                  <a:pt x="18473" y="67293"/>
                  <a:pt x="18521" y="67293"/>
                  <a:pt x="18569" y="67293"/>
                </a:cubicBezTo>
                <a:cubicBezTo>
                  <a:pt x="18616" y="67293"/>
                  <a:pt x="18664" y="67293"/>
                  <a:pt x="18702" y="67312"/>
                </a:cubicBezTo>
                <a:cubicBezTo>
                  <a:pt x="19161" y="67504"/>
                  <a:pt x="19582" y="67695"/>
                  <a:pt x="19965" y="67924"/>
                </a:cubicBezTo>
                <a:cubicBezTo>
                  <a:pt x="20328" y="68122"/>
                  <a:pt x="20605" y="68406"/>
                  <a:pt x="21019" y="68406"/>
                </a:cubicBezTo>
                <a:cubicBezTo>
                  <a:pt x="21085" y="68406"/>
                  <a:pt x="21154" y="68399"/>
                  <a:pt x="21227" y="68383"/>
                </a:cubicBezTo>
                <a:cubicBezTo>
                  <a:pt x="21265" y="68383"/>
                  <a:pt x="21341" y="68536"/>
                  <a:pt x="21456" y="68575"/>
                </a:cubicBezTo>
                <a:cubicBezTo>
                  <a:pt x="21522" y="68607"/>
                  <a:pt x="21644" y="68697"/>
                  <a:pt x="21726" y="68697"/>
                </a:cubicBezTo>
                <a:cubicBezTo>
                  <a:pt x="21739" y="68697"/>
                  <a:pt x="21751" y="68695"/>
                  <a:pt x="21762" y="68689"/>
                </a:cubicBezTo>
                <a:cubicBezTo>
                  <a:pt x="21829" y="68656"/>
                  <a:pt x="21887" y="68642"/>
                  <a:pt x="21938" y="68642"/>
                </a:cubicBezTo>
                <a:cubicBezTo>
                  <a:pt x="22062" y="68642"/>
                  <a:pt x="22151" y="68723"/>
                  <a:pt x="22259" y="68804"/>
                </a:cubicBezTo>
                <a:cubicBezTo>
                  <a:pt x="22325" y="68870"/>
                  <a:pt x="22448" y="68965"/>
                  <a:pt x="22530" y="68965"/>
                </a:cubicBezTo>
                <a:cubicBezTo>
                  <a:pt x="22543" y="68965"/>
                  <a:pt x="22555" y="68962"/>
                  <a:pt x="22565" y="68957"/>
                </a:cubicBezTo>
                <a:cubicBezTo>
                  <a:pt x="22607" y="68947"/>
                  <a:pt x="22645" y="68942"/>
                  <a:pt x="22680" y="68942"/>
                </a:cubicBezTo>
                <a:cubicBezTo>
                  <a:pt x="22904" y="68942"/>
                  <a:pt x="23012" y="69136"/>
                  <a:pt x="23177" y="69301"/>
                </a:cubicBezTo>
                <a:cubicBezTo>
                  <a:pt x="23233" y="69357"/>
                  <a:pt x="23351" y="69393"/>
                  <a:pt x="23455" y="69393"/>
                </a:cubicBezTo>
                <a:cubicBezTo>
                  <a:pt x="23493" y="69393"/>
                  <a:pt x="23529" y="69388"/>
                  <a:pt x="23560" y="69378"/>
                </a:cubicBezTo>
                <a:cubicBezTo>
                  <a:pt x="23629" y="69326"/>
                  <a:pt x="23690" y="69305"/>
                  <a:pt x="23751" y="69305"/>
                </a:cubicBezTo>
                <a:cubicBezTo>
                  <a:pt x="23824" y="69305"/>
                  <a:pt x="23896" y="69336"/>
                  <a:pt x="23980" y="69378"/>
                </a:cubicBezTo>
                <a:cubicBezTo>
                  <a:pt x="24095" y="69492"/>
                  <a:pt x="24248" y="69645"/>
                  <a:pt x="24401" y="69645"/>
                </a:cubicBezTo>
                <a:cubicBezTo>
                  <a:pt x="24707" y="69645"/>
                  <a:pt x="24975" y="69645"/>
                  <a:pt x="25166" y="69990"/>
                </a:cubicBezTo>
                <a:cubicBezTo>
                  <a:pt x="25181" y="70051"/>
                  <a:pt x="25221" y="70075"/>
                  <a:pt x="25273" y="70075"/>
                </a:cubicBezTo>
                <a:cubicBezTo>
                  <a:pt x="25351" y="70075"/>
                  <a:pt x="25457" y="70020"/>
                  <a:pt x="25548" y="69951"/>
                </a:cubicBezTo>
                <a:cubicBezTo>
                  <a:pt x="25612" y="69900"/>
                  <a:pt x="25672" y="69879"/>
                  <a:pt x="25728" y="69879"/>
                </a:cubicBezTo>
                <a:cubicBezTo>
                  <a:pt x="25842" y="69879"/>
                  <a:pt x="25944" y="69964"/>
                  <a:pt x="26046" y="70066"/>
                </a:cubicBezTo>
                <a:cubicBezTo>
                  <a:pt x="26183" y="70286"/>
                  <a:pt x="26242" y="70368"/>
                  <a:pt x="26306" y="70368"/>
                </a:cubicBezTo>
                <a:cubicBezTo>
                  <a:pt x="26331" y="70368"/>
                  <a:pt x="26358" y="70355"/>
                  <a:pt x="26390" y="70334"/>
                </a:cubicBezTo>
                <a:cubicBezTo>
                  <a:pt x="26501" y="70251"/>
                  <a:pt x="26596" y="70223"/>
                  <a:pt x="26686" y="70223"/>
                </a:cubicBezTo>
                <a:cubicBezTo>
                  <a:pt x="26844" y="70223"/>
                  <a:pt x="26984" y="70309"/>
                  <a:pt x="27155" y="70334"/>
                </a:cubicBezTo>
                <a:cubicBezTo>
                  <a:pt x="27316" y="70388"/>
                  <a:pt x="27459" y="70688"/>
                  <a:pt x="27649" y="70688"/>
                </a:cubicBezTo>
                <a:cubicBezTo>
                  <a:pt x="27729" y="70688"/>
                  <a:pt x="27818" y="70634"/>
                  <a:pt x="27920" y="70487"/>
                </a:cubicBezTo>
                <a:cubicBezTo>
                  <a:pt x="27920" y="70487"/>
                  <a:pt x="27996" y="70563"/>
                  <a:pt x="28034" y="70563"/>
                </a:cubicBezTo>
                <a:cubicBezTo>
                  <a:pt x="28302" y="70678"/>
                  <a:pt x="28570" y="70831"/>
                  <a:pt x="28838" y="70869"/>
                </a:cubicBezTo>
                <a:cubicBezTo>
                  <a:pt x="29182" y="70946"/>
                  <a:pt x="29564" y="70908"/>
                  <a:pt x="29909" y="70984"/>
                </a:cubicBezTo>
                <a:cubicBezTo>
                  <a:pt x="30329" y="71022"/>
                  <a:pt x="30750" y="71099"/>
                  <a:pt x="31171" y="71213"/>
                </a:cubicBezTo>
                <a:cubicBezTo>
                  <a:pt x="31304" y="71233"/>
                  <a:pt x="31429" y="71242"/>
                  <a:pt x="31558" y="71242"/>
                </a:cubicBezTo>
                <a:cubicBezTo>
                  <a:pt x="31687" y="71242"/>
                  <a:pt x="31821" y="71233"/>
                  <a:pt x="31974" y="71213"/>
                </a:cubicBezTo>
                <a:cubicBezTo>
                  <a:pt x="31995" y="71206"/>
                  <a:pt x="32018" y="71203"/>
                  <a:pt x="32041" y="71203"/>
                </a:cubicBezTo>
                <a:cubicBezTo>
                  <a:pt x="32189" y="71203"/>
                  <a:pt x="32362" y="71334"/>
                  <a:pt x="32533" y="71334"/>
                </a:cubicBezTo>
                <a:cubicBezTo>
                  <a:pt x="32616" y="71334"/>
                  <a:pt x="32698" y="71304"/>
                  <a:pt x="32777" y="71213"/>
                </a:cubicBezTo>
                <a:cubicBezTo>
                  <a:pt x="33010" y="71330"/>
                  <a:pt x="33243" y="71374"/>
                  <a:pt x="33476" y="71374"/>
                </a:cubicBezTo>
                <a:cubicBezTo>
                  <a:pt x="33779" y="71374"/>
                  <a:pt x="34081" y="71300"/>
                  <a:pt x="34383" y="71213"/>
                </a:cubicBezTo>
                <a:cubicBezTo>
                  <a:pt x="34422" y="71194"/>
                  <a:pt x="34460" y="71185"/>
                  <a:pt x="34498" y="71185"/>
                </a:cubicBezTo>
                <a:cubicBezTo>
                  <a:pt x="34536" y="71185"/>
                  <a:pt x="34575" y="71194"/>
                  <a:pt x="34613" y="71213"/>
                </a:cubicBezTo>
                <a:cubicBezTo>
                  <a:pt x="34861" y="71213"/>
                  <a:pt x="35120" y="71194"/>
                  <a:pt x="35368" y="71194"/>
                </a:cubicBezTo>
                <a:cubicBezTo>
                  <a:pt x="35617" y="71194"/>
                  <a:pt x="35856" y="71213"/>
                  <a:pt x="36066" y="71290"/>
                </a:cubicBezTo>
                <a:cubicBezTo>
                  <a:pt x="36117" y="71305"/>
                  <a:pt x="36167" y="71312"/>
                  <a:pt x="36214" y="71312"/>
                </a:cubicBezTo>
                <a:cubicBezTo>
                  <a:pt x="36460" y="71312"/>
                  <a:pt x="36658" y="71139"/>
                  <a:pt x="36846" y="71139"/>
                </a:cubicBezTo>
                <a:cubicBezTo>
                  <a:pt x="36892" y="71139"/>
                  <a:pt x="36938" y="71149"/>
                  <a:pt x="36984" y="71175"/>
                </a:cubicBezTo>
                <a:cubicBezTo>
                  <a:pt x="37113" y="71246"/>
                  <a:pt x="37235" y="71269"/>
                  <a:pt x="37353" y="71269"/>
                </a:cubicBezTo>
                <a:cubicBezTo>
                  <a:pt x="37593" y="71269"/>
                  <a:pt x="37817" y="71171"/>
                  <a:pt x="38053" y="71171"/>
                </a:cubicBezTo>
                <a:cubicBezTo>
                  <a:pt x="38079" y="71171"/>
                  <a:pt x="38105" y="71173"/>
                  <a:pt x="38131" y="71175"/>
                </a:cubicBezTo>
                <a:cubicBezTo>
                  <a:pt x="38223" y="71175"/>
                  <a:pt x="38364" y="71126"/>
                  <a:pt x="38475" y="71126"/>
                </a:cubicBezTo>
                <a:cubicBezTo>
                  <a:pt x="38503" y="71126"/>
                  <a:pt x="38529" y="71129"/>
                  <a:pt x="38552" y="71137"/>
                </a:cubicBezTo>
                <a:cubicBezTo>
                  <a:pt x="38659" y="71198"/>
                  <a:pt x="38760" y="71223"/>
                  <a:pt x="38855" y="71223"/>
                </a:cubicBezTo>
                <a:cubicBezTo>
                  <a:pt x="38997" y="71223"/>
                  <a:pt x="39126" y="71168"/>
                  <a:pt x="39241" y="71099"/>
                </a:cubicBezTo>
                <a:cubicBezTo>
                  <a:pt x="39386" y="71026"/>
                  <a:pt x="39516" y="70999"/>
                  <a:pt x="39650" y="70999"/>
                </a:cubicBezTo>
                <a:cubicBezTo>
                  <a:pt x="39728" y="70999"/>
                  <a:pt x="39807" y="71008"/>
                  <a:pt x="39891" y="71022"/>
                </a:cubicBezTo>
                <a:cubicBezTo>
                  <a:pt x="39993" y="71039"/>
                  <a:pt x="40111" y="71072"/>
                  <a:pt x="40226" y="71072"/>
                </a:cubicBezTo>
                <a:cubicBezTo>
                  <a:pt x="40370" y="71072"/>
                  <a:pt x="40511" y="71022"/>
                  <a:pt x="40617" y="70831"/>
                </a:cubicBezTo>
                <a:cubicBezTo>
                  <a:pt x="40617" y="70831"/>
                  <a:pt x="40732" y="70869"/>
                  <a:pt x="40770" y="70869"/>
                </a:cubicBezTo>
                <a:cubicBezTo>
                  <a:pt x="41306" y="70869"/>
                  <a:pt x="41880" y="70831"/>
                  <a:pt x="42338" y="70563"/>
                </a:cubicBezTo>
                <a:cubicBezTo>
                  <a:pt x="42797" y="70296"/>
                  <a:pt x="43448" y="70678"/>
                  <a:pt x="43792" y="70066"/>
                </a:cubicBezTo>
                <a:cubicBezTo>
                  <a:pt x="43792" y="70066"/>
                  <a:pt x="43907" y="70104"/>
                  <a:pt x="43907" y="70104"/>
                </a:cubicBezTo>
                <a:cubicBezTo>
                  <a:pt x="44002" y="70162"/>
                  <a:pt x="44079" y="70181"/>
                  <a:pt x="44155" y="70181"/>
                </a:cubicBezTo>
                <a:cubicBezTo>
                  <a:pt x="44232" y="70181"/>
                  <a:pt x="44308" y="70162"/>
                  <a:pt x="44404" y="70143"/>
                </a:cubicBezTo>
                <a:cubicBezTo>
                  <a:pt x="45054" y="70028"/>
                  <a:pt x="45628" y="69684"/>
                  <a:pt x="46240" y="69492"/>
                </a:cubicBezTo>
                <a:cubicBezTo>
                  <a:pt x="46699" y="69301"/>
                  <a:pt x="47157" y="69110"/>
                  <a:pt x="47578" y="68957"/>
                </a:cubicBezTo>
                <a:cubicBezTo>
                  <a:pt x="47676" y="69016"/>
                  <a:pt x="47762" y="69039"/>
                  <a:pt x="47838" y="69039"/>
                </a:cubicBezTo>
                <a:cubicBezTo>
                  <a:pt x="48059" y="69039"/>
                  <a:pt x="48201" y="68841"/>
                  <a:pt x="48343" y="68727"/>
                </a:cubicBezTo>
                <a:cubicBezTo>
                  <a:pt x="48458" y="68689"/>
                  <a:pt x="48534" y="68498"/>
                  <a:pt x="48649" y="68498"/>
                </a:cubicBezTo>
                <a:cubicBezTo>
                  <a:pt x="48671" y="68500"/>
                  <a:pt x="48692" y="68501"/>
                  <a:pt x="48712" y="68501"/>
                </a:cubicBezTo>
                <a:cubicBezTo>
                  <a:pt x="49133" y="68501"/>
                  <a:pt x="49392" y="68143"/>
                  <a:pt x="49720" y="67924"/>
                </a:cubicBezTo>
                <a:cubicBezTo>
                  <a:pt x="49988" y="67810"/>
                  <a:pt x="50255" y="67504"/>
                  <a:pt x="50485" y="67504"/>
                </a:cubicBezTo>
                <a:cubicBezTo>
                  <a:pt x="50507" y="67506"/>
                  <a:pt x="50529" y="67507"/>
                  <a:pt x="50550" y="67507"/>
                </a:cubicBezTo>
                <a:cubicBezTo>
                  <a:pt x="50849" y="67507"/>
                  <a:pt x="50995" y="67264"/>
                  <a:pt x="51173" y="67121"/>
                </a:cubicBezTo>
                <a:cubicBezTo>
                  <a:pt x="51441" y="66968"/>
                  <a:pt x="51747" y="67006"/>
                  <a:pt x="51976" y="66777"/>
                </a:cubicBezTo>
                <a:cubicBezTo>
                  <a:pt x="52321" y="66471"/>
                  <a:pt x="52780" y="66241"/>
                  <a:pt x="53200" y="66050"/>
                </a:cubicBezTo>
                <a:cubicBezTo>
                  <a:pt x="54424" y="65362"/>
                  <a:pt x="55610" y="64712"/>
                  <a:pt x="56642" y="63717"/>
                </a:cubicBezTo>
                <a:cubicBezTo>
                  <a:pt x="56719" y="63641"/>
                  <a:pt x="56834" y="63564"/>
                  <a:pt x="56948" y="63526"/>
                </a:cubicBezTo>
                <a:cubicBezTo>
                  <a:pt x="57369" y="63335"/>
                  <a:pt x="57713" y="63105"/>
                  <a:pt x="58019" y="62761"/>
                </a:cubicBezTo>
                <a:cubicBezTo>
                  <a:pt x="58402" y="62379"/>
                  <a:pt x="58822" y="61996"/>
                  <a:pt x="59281" y="61690"/>
                </a:cubicBezTo>
                <a:cubicBezTo>
                  <a:pt x="59702" y="61384"/>
                  <a:pt x="59970" y="60887"/>
                  <a:pt x="60467" y="60619"/>
                </a:cubicBezTo>
                <a:cubicBezTo>
                  <a:pt x="60505" y="60619"/>
                  <a:pt x="60544" y="60543"/>
                  <a:pt x="60582" y="60505"/>
                </a:cubicBezTo>
                <a:cubicBezTo>
                  <a:pt x="60926" y="59625"/>
                  <a:pt x="61844" y="59204"/>
                  <a:pt x="62379" y="58439"/>
                </a:cubicBezTo>
                <a:cubicBezTo>
                  <a:pt x="62762" y="57827"/>
                  <a:pt x="63335" y="57368"/>
                  <a:pt x="63680" y="56718"/>
                </a:cubicBezTo>
                <a:cubicBezTo>
                  <a:pt x="63871" y="56336"/>
                  <a:pt x="64215" y="56068"/>
                  <a:pt x="64445" y="55686"/>
                </a:cubicBezTo>
                <a:cubicBezTo>
                  <a:pt x="64789" y="55150"/>
                  <a:pt x="65095" y="54615"/>
                  <a:pt x="65401" y="54079"/>
                </a:cubicBezTo>
                <a:cubicBezTo>
                  <a:pt x="65745" y="53429"/>
                  <a:pt x="66089" y="52702"/>
                  <a:pt x="66472" y="52052"/>
                </a:cubicBezTo>
                <a:cubicBezTo>
                  <a:pt x="66663" y="51708"/>
                  <a:pt x="66969" y="51440"/>
                  <a:pt x="66969" y="50981"/>
                </a:cubicBezTo>
                <a:cubicBezTo>
                  <a:pt x="66931" y="50867"/>
                  <a:pt x="67007" y="50675"/>
                  <a:pt x="67084" y="50637"/>
                </a:cubicBezTo>
                <a:cubicBezTo>
                  <a:pt x="67351" y="50522"/>
                  <a:pt x="67390" y="50293"/>
                  <a:pt x="67428" y="50063"/>
                </a:cubicBezTo>
                <a:cubicBezTo>
                  <a:pt x="67581" y="49528"/>
                  <a:pt x="67810" y="49069"/>
                  <a:pt x="68002" y="48572"/>
                </a:cubicBezTo>
                <a:cubicBezTo>
                  <a:pt x="68116" y="48266"/>
                  <a:pt x="68231" y="47960"/>
                  <a:pt x="68346" y="47692"/>
                </a:cubicBezTo>
                <a:cubicBezTo>
                  <a:pt x="68460" y="47310"/>
                  <a:pt x="68613" y="46966"/>
                  <a:pt x="68728" y="46621"/>
                </a:cubicBezTo>
                <a:cubicBezTo>
                  <a:pt x="68843" y="46277"/>
                  <a:pt x="68996" y="45933"/>
                  <a:pt x="68919" y="45589"/>
                </a:cubicBezTo>
                <a:cubicBezTo>
                  <a:pt x="68881" y="45168"/>
                  <a:pt x="69149" y="44977"/>
                  <a:pt x="69302" y="44709"/>
                </a:cubicBezTo>
                <a:cubicBezTo>
                  <a:pt x="69340" y="44594"/>
                  <a:pt x="69340" y="44441"/>
                  <a:pt x="69340" y="44327"/>
                </a:cubicBezTo>
                <a:cubicBezTo>
                  <a:pt x="69378" y="43944"/>
                  <a:pt x="69264" y="43447"/>
                  <a:pt x="69455" y="43141"/>
                </a:cubicBezTo>
                <a:cubicBezTo>
                  <a:pt x="69723" y="42682"/>
                  <a:pt x="69684" y="42223"/>
                  <a:pt x="69799" y="41764"/>
                </a:cubicBezTo>
                <a:cubicBezTo>
                  <a:pt x="70029" y="40578"/>
                  <a:pt x="70220" y="39431"/>
                  <a:pt x="70411" y="38245"/>
                </a:cubicBezTo>
                <a:cubicBezTo>
                  <a:pt x="70449" y="38092"/>
                  <a:pt x="70449" y="37939"/>
                  <a:pt x="70449" y="37786"/>
                </a:cubicBezTo>
                <a:cubicBezTo>
                  <a:pt x="70487" y="37251"/>
                  <a:pt x="70526" y="36716"/>
                  <a:pt x="70526" y="36180"/>
                </a:cubicBezTo>
                <a:cubicBezTo>
                  <a:pt x="70564" y="35339"/>
                  <a:pt x="70717" y="34536"/>
                  <a:pt x="70679" y="33694"/>
                </a:cubicBezTo>
                <a:cubicBezTo>
                  <a:pt x="70640" y="32929"/>
                  <a:pt x="70679" y="32203"/>
                  <a:pt x="70640" y="31438"/>
                </a:cubicBezTo>
                <a:cubicBezTo>
                  <a:pt x="70602" y="30787"/>
                  <a:pt x="70679" y="30137"/>
                  <a:pt x="70602" y="29487"/>
                </a:cubicBezTo>
                <a:cubicBezTo>
                  <a:pt x="70564" y="29066"/>
                  <a:pt x="70487" y="28646"/>
                  <a:pt x="70526" y="28187"/>
                </a:cubicBezTo>
                <a:cubicBezTo>
                  <a:pt x="70564" y="27766"/>
                  <a:pt x="69952" y="27460"/>
                  <a:pt x="70258" y="26963"/>
                </a:cubicBezTo>
                <a:cubicBezTo>
                  <a:pt x="69761" y="26580"/>
                  <a:pt x="70182" y="25854"/>
                  <a:pt x="69723" y="25471"/>
                </a:cubicBezTo>
                <a:cubicBezTo>
                  <a:pt x="69952" y="24859"/>
                  <a:pt x="69378" y="24477"/>
                  <a:pt x="69340" y="23941"/>
                </a:cubicBezTo>
                <a:cubicBezTo>
                  <a:pt x="69264" y="23406"/>
                  <a:pt x="68919" y="22947"/>
                  <a:pt x="68728" y="22450"/>
                </a:cubicBezTo>
                <a:cubicBezTo>
                  <a:pt x="68537" y="21914"/>
                  <a:pt x="68078" y="21494"/>
                  <a:pt x="68193" y="20843"/>
                </a:cubicBezTo>
                <a:cubicBezTo>
                  <a:pt x="68193" y="20805"/>
                  <a:pt x="68116" y="20729"/>
                  <a:pt x="68078" y="20652"/>
                </a:cubicBezTo>
                <a:cubicBezTo>
                  <a:pt x="67963" y="20537"/>
                  <a:pt x="67810" y="20385"/>
                  <a:pt x="67696" y="20232"/>
                </a:cubicBezTo>
                <a:cubicBezTo>
                  <a:pt x="67313" y="19696"/>
                  <a:pt x="67313" y="19008"/>
                  <a:pt x="66854" y="18510"/>
                </a:cubicBezTo>
                <a:cubicBezTo>
                  <a:pt x="66472" y="18090"/>
                  <a:pt x="66127" y="17707"/>
                  <a:pt x="65860" y="17210"/>
                </a:cubicBezTo>
                <a:cubicBezTo>
                  <a:pt x="65707" y="16942"/>
                  <a:pt x="65592" y="16598"/>
                  <a:pt x="65363" y="16407"/>
                </a:cubicBezTo>
                <a:cubicBezTo>
                  <a:pt x="64789" y="15910"/>
                  <a:pt x="64598" y="15183"/>
                  <a:pt x="63986" y="14724"/>
                </a:cubicBezTo>
                <a:cubicBezTo>
                  <a:pt x="63756" y="14533"/>
                  <a:pt x="63603" y="14189"/>
                  <a:pt x="63374" y="13921"/>
                </a:cubicBezTo>
                <a:cubicBezTo>
                  <a:pt x="63356" y="13922"/>
                  <a:pt x="63340" y="13923"/>
                  <a:pt x="63324" y="13923"/>
                </a:cubicBezTo>
                <a:cubicBezTo>
                  <a:pt x="62813" y="13923"/>
                  <a:pt x="63020" y="13341"/>
                  <a:pt x="62724" y="13156"/>
                </a:cubicBezTo>
                <a:cubicBezTo>
                  <a:pt x="62571" y="13080"/>
                  <a:pt x="62456" y="12965"/>
                  <a:pt x="62303" y="12850"/>
                </a:cubicBezTo>
                <a:cubicBezTo>
                  <a:pt x="62188" y="12774"/>
                  <a:pt x="62112" y="12621"/>
                  <a:pt x="61997" y="12506"/>
                </a:cubicBezTo>
                <a:cubicBezTo>
                  <a:pt x="61920" y="12391"/>
                  <a:pt x="61882" y="12200"/>
                  <a:pt x="61767" y="12123"/>
                </a:cubicBezTo>
                <a:cubicBezTo>
                  <a:pt x="61423" y="11894"/>
                  <a:pt x="61194" y="11511"/>
                  <a:pt x="60888" y="11205"/>
                </a:cubicBezTo>
                <a:cubicBezTo>
                  <a:pt x="60238" y="10594"/>
                  <a:pt x="59740" y="9829"/>
                  <a:pt x="59090" y="9217"/>
                </a:cubicBezTo>
                <a:cubicBezTo>
                  <a:pt x="58899" y="9025"/>
                  <a:pt x="58669" y="8834"/>
                  <a:pt x="58478" y="8643"/>
                </a:cubicBezTo>
                <a:cubicBezTo>
                  <a:pt x="58249" y="8452"/>
                  <a:pt x="57905" y="8261"/>
                  <a:pt x="57828" y="7993"/>
                </a:cubicBezTo>
                <a:cubicBezTo>
                  <a:pt x="57713" y="7610"/>
                  <a:pt x="57331" y="7572"/>
                  <a:pt x="57140" y="7304"/>
                </a:cubicBezTo>
                <a:cubicBezTo>
                  <a:pt x="56948" y="7075"/>
                  <a:pt x="56681" y="6884"/>
                  <a:pt x="56413" y="6692"/>
                </a:cubicBezTo>
                <a:cubicBezTo>
                  <a:pt x="56222" y="6539"/>
                  <a:pt x="56069" y="6310"/>
                  <a:pt x="55878" y="6272"/>
                </a:cubicBezTo>
                <a:cubicBezTo>
                  <a:pt x="55151" y="6195"/>
                  <a:pt x="54692" y="5660"/>
                  <a:pt x="54118" y="5316"/>
                </a:cubicBezTo>
                <a:cubicBezTo>
                  <a:pt x="54003" y="5277"/>
                  <a:pt x="53889" y="5201"/>
                  <a:pt x="53889" y="5124"/>
                </a:cubicBezTo>
                <a:cubicBezTo>
                  <a:pt x="53927" y="4665"/>
                  <a:pt x="53506" y="4627"/>
                  <a:pt x="53239" y="4474"/>
                </a:cubicBezTo>
                <a:cubicBezTo>
                  <a:pt x="52703" y="4168"/>
                  <a:pt x="52168" y="3824"/>
                  <a:pt x="51556" y="3671"/>
                </a:cubicBezTo>
                <a:cubicBezTo>
                  <a:pt x="50791" y="3403"/>
                  <a:pt x="50102" y="2983"/>
                  <a:pt x="49337" y="2715"/>
                </a:cubicBezTo>
                <a:cubicBezTo>
                  <a:pt x="48573" y="2447"/>
                  <a:pt x="47808" y="2141"/>
                  <a:pt x="47004" y="1912"/>
                </a:cubicBezTo>
                <a:cubicBezTo>
                  <a:pt x="46469" y="1797"/>
                  <a:pt x="45895" y="1644"/>
                  <a:pt x="45360" y="1491"/>
                </a:cubicBezTo>
                <a:cubicBezTo>
                  <a:pt x="44404" y="1300"/>
                  <a:pt x="43448" y="1070"/>
                  <a:pt x="42530" y="841"/>
                </a:cubicBezTo>
                <a:cubicBezTo>
                  <a:pt x="42434" y="817"/>
                  <a:pt x="42335" y="810"/>
                  <a:pt x="42234" y="810"/>
                </a:cubicBezTo>
                <a:cubicBezTo>
                  <a:pt x="42079" y="810"/>
                  <a:pt x="41921" y="827"/>
                  <a:pt x="41767" y="827"/>
                </a:cubicBezTo>
                <a:cubicBezTo>
                  <a:pt x="41544" y="827"/>
                  <a:pt x="41332" y="790"/>
                  <a:pt x="41153" y="611"/>
                </a:cubicBezTo>
                <a:cubicBezTo>
                  <a:pt x="41145" y="604"/>
                  <a:pt x="41136" y="601"/>
                  <a:pt x="41126" y="601"/>
                </a:cubicBezTo>
                <a:cubicBezTo>
                  <a:pt x="41086" y="601"/>
                  <a:pt x="41030" y="650"/>
                  <a:pt x="41000" y="650"/>
                </a:cubicBezTo>
                <a:cubicBezTo>
                  <a:pt x="40656" y="611"/>
                  <a:pt x="40311" y="611"/>
                  <a:pt x="40005" y="573"/>
                </a:cubicBezTo>
                <a:cubicBezTo>
                  <a:pt x="39631" y="539"/>
                  <a:pt x="39287" y="414"/>
                  <a:pt x="38946" y="414"/>
                </a:cubicBezTo>
                <a:cubicBezTo>
                  <a:pt x="38904" y="414"/>
                  <a:pt x="38862" y="416"/>
                  <a:pt x="38820" y="420"/>
                </a:cubicBezTo>
                <a:cubicBezTo>
                  <a:pt x="38752" y="427"/>
                  <a:pt x="38688" y="430"/>
                  <a:pt x="38627" y="430"/>
                </a:cubicBezTo>
                <a:cubicBezTo>
                  <a:pt x="38341" y="430"/>
                  <a:pt x="38115" y="362"/>
                  <a:pt x="37864" y="267"/>
                </a:cubicBezTo>
                <a:cubicBezTo>
                  <a:pt x="37749" y="229"/>
                  <a:pt x="37596" y="152"/>
                  <a:pt x="37519" y="152"/>
                </a:cubicBezTo>
                <a:cubicBezTo>
                  <a:pt x="37343" y="208"/>
                  <a:pt x="37167" y="228"/>
                  <a:pt x="36990" y="228"/>
                </a:cubicBezTo>
                <a:cubicBezTo>
                  <a:pt x="36568" y="228"/>
                  <a:pt x="36146" y="115"/>
                  <a:pt x="35723" y="115"/>
                </a:cubicBezTo>
                <a:cubicBezTo>
                  <a:pt x="35595" y="115"/>
                  <a:pt x="35467" y="125"/>
                  <a:pt x="35339" y="152"/>
                </a:cubicBezTo>
                <a:cubicBezTo>
                  <a:pt x="35328" y="164"/>
                  <a:pt x="35314" y="168"/>
                  <a:pt x="35298" y="168"/>
                </a:cubicBezTo>
                <a:cubicBezTo>
                  <a:pt x="35260" y="168"/>
                  <a:pt x="35214" y="141"/>
                  <a:pt x="35186" y="114"/>
                </a:cubicBezTo>
                <a:cubicBezTo>
                  <a:pt x="35110" y="114"/>
                  <a:pt x="34039" y="114"/>
                  <a:pt x="33963" y="152"/>
                </a:cubicBezTo>
                <a:cubicBezTo>
                  <a:pt x="33886" y="152"/>
                  <a:pt x="33810" y="169"/>
                  <a:pt x="33744" y="169"/>
                </a:cubicBezTo>
                <a:cubicBezTo>
                  <a:pt x="33712" y="169"/>
                  <a:pt x="33682" y="165"/>
                  <a:pt x="33657" y="152"/>
                </a:cubicBezTo>
                <a:cubicBezTo>
                  <a:pt x="33462" y="39"/>
                  <a:pt x="33267" y="1"/>
                  <a:pt x="33072" y="1"/>
                </a:cubicBezTo>
                <a:close/>
              </a:path>
            </a:pathLst>
          </a:custGeom>
          <a:solidFill>
            <a:srgbClr val="212E4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63F62C-0FED-CB3D-49E6-138C075D0115}"/>
              </a:ext>
            </a:extLst>
          </p:cNvPr>
          <p:cNvSpPr txBox="1"/>
          <p:nvPr/>
        </p:nvSpPr>
        <p:spPr>
          <a:xfrm>
            <a:off x="2360135" y="4277236"/>
            <a:ext cx="1619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Century Gothic" panose="020B0502020202020204" pitchFamily="34" charset="0"/>
              </a:rPr>
              <a:t>SACC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737C7A-A2A1-4067-E605-92BAA1C8FF9A}"/>
              </a:ext>
            </a:extLst>
          </p:cNvPr>
          <p:cNvSpPr txBox="1"/>
          <p:nvPr/>
        </p:nvSpPr>
        <p:spPr>
          <a:xfrm>
            <a:off x="5367518" y="878100"/>
            <a:ext cx="6563356" cy="5938998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>
                <a:latin typeface="VAG Rounded Std Thin" panose="020F0402020204020204" pitchFamily="34" charset="0"/>
              </a:rPr>
              <a:t>KBA has opted to source </a:t>
            </a:r>
            <a:r>
              <a:rPr lang="en-US" sz="1600" b="1">
                <a:solidFill>
                  <a:srgbClr val="FD7F00"/>
                </a:solidFill>
                <a:latin typeface="VAG Rounded Std Thin" panose="020F0402020204020204" pitchFamily="34" charset="0"/>
              </a:rPr>
              <a:t>raw, anonymized MSME data directly from Credit Reference Bureaus (CRBs)</a:t>
            </a:r>
            <a:r>
              <a:rPr lang="en-US" sz="1600">
                <a:solidFill>
                  <a:srgbClr val="FD7F00"/>
                </a:solidFill>
                <a:latin typeface="VAG Rounded Std Thin" panose="020F0402020204020204" pitchFamily="34" charset="0"/>
              </a:rPr>
              <a:t> </a:t>
            </a:r>
            <a:r>
              <a:rPr lang="en-US" sz="1600">
                <a:latin typeface="VAG Rounded Std Thin" panose="020F0402020204020204" pitchFamily="34" charset="0"/>
              </a:rPr>
              <a:t>for the following reasons: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>
                <a:latin typeface="VAG Rounded Std Thin" panose="020F0402020204020204" pitchFamily="34" charset="0"/>
              </a:rPr>
              <a:t>CRBs already receive </a:t>
            </a:r>
            <a:r>
              <a:rPr lang="en-US" sz="1600" b="1">
                <a:solidFill>
                  <a:srgbClr val="FD7F00"/>
                </a:solidFill>
                <a:latin typeface="VAG Rounded Std Thin" panose="020F0402020204020204" pitchFamily="34" charset="0"/>
              </a:rPr>
              <a:t>standardized credit data</a:t>
            </a:r>
            <a:r>
              <a:rPr lang="en-US" sz="1600">
                <a:solidFill>
                  <a:srgbClr val="FD7F00"/>
                </a:solidFill>
                <a:latin typeface="VAG Rounded Std Thin" panose="020F0402020204020204" pitchFamily="34" charset="0"/>
              </a:rPr>
              <a:t> </a:t>
            </a:r>
            <a:r>
              <a:rPr lang="en-US" sz="1600">
                <a:latin typeface="VAG Rounded Std Thin" panose="020F0402020204020204" pitchFamily="34" charset="0"/>
              </a:rPr>
              <a:t>from a wide group of FSPs; including banks, MFIs, SACCOs, and digital lenders.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>
                <a:latin typeface="VAG Rounded Std Thin" panose="020F0402020204020204" pitchFamily="34" charset="0"/>
              </a:rPr>
              <a:t>CRB data offers a </a:t>
            </a:r>
            <a:r>
              <a:rPr lang="en-US" sz="1600" b="1">
                <a:solidFill>
                  <a:srgbClr val="FD7F00"/>
                </a:solidFill>
                <a:latin typeface="VAG Rounded Std Thin" panose="020F0402020204020204" pitchFamily="34" charset="0"/>
              </a:rPr>
              <a:t>centralized, ready-to-analyze dataset</a:t>
            </a:r>
            <a:r>
              <a:rPr lang="en-US" sz="1600">
                <a:latin typeface="VAG Rounded Std Thin" panose="020F0402020204020204" pitchFamily="34" charset="0"/>
              </a:rPr>
              <a:t>, reducing duplication and speeding up insight generation.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kern="100">
                <a:effectLst/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ers </a:t>
            </a:r>
            <a:r>
              <a:rPr lang="en-US" sz="1600" b="1" kern="100">
                <a:solidFill>
                  <a:srgbClr val="FD7F00"/>
                </a:solidFill>
                <a:effectLst/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censed &amp; unlicensed MSMEs</a:t>
            </a:r>
            <a:r>
              <a:rPr lang="en-US" sz="1600" kern="100">
                <a:effectLst/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includes proxy indicators to identify WMSMEs.</a:t>
            </a:r>
            <a:endParaRPr lang="en-US" sz="1600">
              <a:latin typeface="VAG Rounded Std Thin" panose="020F0402020204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>
                <a:latin typeface="VAG Rounded Std Thin" panose="020F0402020204020204" pitchFamily="34" charset="0"/>
              </a:rPr>
              <a:t>Use of a </a:t>
            </a:r>
            <a:r>
              <a:rPr lang="en-US" sz="1600" b="1">
                <a:solidFill>
                  <a:srgbClr val="FD7F00"/>
                </a:solidFill>
                <a:latin typeface="VAG Rounded Std Thin" panose="020F0402020204020204" pitchFamily="34" charset="0"/>
              </a:rPr>
              <a:t>standard Data Specification Template (DST)</a:t>
            </a:r>
            <a:r>
              <a:rPr lang="en-US" sz="1600">
                <a:solidFill>
                  <a:srgbClr val="FD7F00"/>
                </a:solidFill>
                <a:latin typeface="VAG Rounded Std Thin" panose="020F0402020204020204" pitchFamily="34" charset="0"/>
              </a:rPr>
              <a:t> </a:t>
            </a:r>
            <a:r>
              <a:rPr lang="en-US" sz="1600">
                <a:latin typeface="VAG Rounded Std Thin" panose="020F0402020204020204" pitchFamily="34" charset="0"/>
              </a:rPr>
              <a:t>ensures uniformity, allowing for robust dashboards and benchmarking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>
                <a:latin typeface="VAG Rounded Std Thin" panose="020F0402020204020204" pitchFamily="34" charset="0"/>
              </a:rPr>
              <a:t>Monthly data submissions and integration channels enable </a:t>
            </a:r>
            <a:r>
              <a:rPr lang="en-US" sz="1600" b="1">
                <a:solidFill>
                  <a:srgbClr val="FD7F00"/>
                </a:solidFill>
                <a:latin typeface="VAG Rounded Std Thin" panose="020F0402020204020204" pitchFamily="34" charset="0"/>
              </a:rPr>
              <a:t>monthly updates</a:t>
            </a:r>
            <a:r>
              <a:rPr lang="en-US" sz="1600">
                <a:latin typeface="VAG Rounded Std Thin" panose="020F0402020204020204" pitchFamily="34" charset="0"/>
              </a:rPr>
              <a:t>, keeping the system dynamic and current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3026C2-51A6-C881-3B77-78CE551A3C72}"/>
              </a:ext>
            </a:extLst>
          </p:cNvPr>
          <p:cNvSpPr txBox="1"/>
          <p:nvPr/>
        </p:nvSpPr>
        <p:spPr>
          <a:xfrm>
            <a:off x="2325413" y="152374"/>
            <a:ext cx="71192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rgbClr val="FD7F00"/>
                </a:solidFill>
                <a:latin typeface="VAG Rounded Std Thin" panose="020F0402020204020204" pitchFamily="34" charset="0"/>
              </a:rPr>
              <a:t>CRB Integration…</a:t>
            </a:r>
          </a:p>
          <a:p>
            <a:endParaRPr lang="en-US" sz="2400">
              <a:latin typeface="VAG Rounded Std Thin" panose="020F0402020204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CC1005-8AA3-9F0A-9B03-94D3DB377C0C}"/>
              </a:ext>
            </a:extLst>
          </p:cNvPr>
          <p:cNvSpPr/>
          <p:nvPr/>
        </p:nvSpPr>
        <p:spPr>
          <a:xfrm>
            <a:off x="3178242" y="853127"/>
            <a:ext cx="2210187" cy="502551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69C9D-4654-9CA3-60D5-83659F8AE83E}"/>
              </a:ext>
            </a:extLst>
          </p:cNvPr>
          <p:cNvSpPr txBox="1"/>
          <p:nvPr/>
        </p:nvSpPr>
        <p:spPr>
          <a:xfrm>
            <a:off x="3145137" y="958619"/>
            <a:ext cx="2471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entury Gothic" panose="020B0502020202020204" pitchFamily="34" charset="0"/>
              </a:rPr>
              <a:t>Data Specification Templ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7DEA91-2FE7-9597-21D0-5C416BAC4E57}"/>
              </a:ext>
            </a:extLst>
          </p:cNvPr>
          <p:cNvSpPr txBox="1"/>
          <p:nvPr/>
        </p:nvSpPr>
        <p:spPr>
          <a:xfrm>
            <a:off x="-42941" y="6311077"/>
            <a:ext cx="53675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hlinkClick r:id="rId3"/>
              </a:rPr>
              <a:t>https://sites.google.com/usabledata.co/kba-wmsme/dashboards</a:t>
            </a:r>
            <a:r>
              <a:rPr lang="en-US"/>
              <a:t>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65C792-B6C8-41F0-BC72-9135E39D3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65C792-B6C8-41F0-BC72-9135E39D3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67F69D9-E32B-4F12-8270-37B1EF62855D}"/>
              </a:ext>
            </a:extLst>
          </p:cNvPr>
          <p:cNvSpPr/>
          <p:nvPr/>
        </p:nvSpPr>
        <p:spPr>
          <a:xfrm>
            <a:off x="457199" y="2350354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D97424-02C0-457E-9C3D-EACF7B139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8486" y="2268"/>
            <a:ext cx="8643409" cy="752959"/>
          </a:xfrm>
        </p:spPr>
        <p:txBody>
          <a:bodyPr vert="horz"/>
          <a:lstStyle/>
          <a:p>
            <a:r>
              <a:rPr lang="en-US" sz="2400">
                <a:solidFill>
                  <a:srgbClr val="FD7F00"/>
                </a:solidFill>
                <a:latin typeface="VAG Rounded Std Thin"/>
              </a:rPr>
              <a:t>What We Track in the KBA–CRB Gender-Disaggregated Dashboard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A22E8-DBE2-4A8B-804A-6CC1E70CA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>
                <a:solidFill>
                  <a:schemeClr val="bg1"/>
                </a:solidFill>
              </a:rPr>
              <a:t>17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D5D73B-0433-4DB9-9A94-BA4451B5409F}"/>
              </a:ext>
            </a:extLst>
          </p:cNvPr>
          <p:cNvSpPr/>
          <p:nvPr/>
        </p:nvSpPr>
        <p:spPr>
          <a:xfrm>
            <a:off x="645535" y="2102355"/>
            <a:ext cx="2299855" cy="528205"/>
          </a:xfrm>
          <a:prstGeom prst="rect">
            <a:avLst/>
          </a:prstGeom>
          <a:solidFill>
            <a:srgbClr val="F69320"/>
          </a:solidFill>
          <a:effectLst>
            <a:outerShdw dist="63500" dir="5400000" algn="t" rotWithShape="0">
              <a:srgbClr val="FFC50D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Access &amp; Uptake</a:t>
            </a:r>
            <a:endParaRPr lang="en-US">
              <a:solidFill>
                <a:schemeClr val="bg1"/>
              </a:solidFill>
              <a:cs typeface="Segoe UI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FBCB425-6A26-41B0-B72B-2EB82C895267}"/>
              </a:ext>
            </a:extLst>
          </p:cNvPr>
          <p:cNvSpPr/>
          <p:nvPr/>
        </p:nvSpPr>
        <p:spPr>
          <a:xfrm>
            <a:off x="3324224" y="2350354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F66E8DB-8DFD-4B03-A6DE-8C338DFA20D8}"/>
              </a:ext>
            </a:extLst>
          </p:cNvPr>
          <p:cNvSpPr/>
          <p:nvPr/>
        </p:nvSpPr>
        <p:spPr>
          <a:xfrm>
            <a:off x="6191249" y="2350354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C829D4E-9AFD-4513-895F-0398155E6DAE}"/>
              </a:ext>
            </a:extLst>
          </p:cNvPr>
          <p:cNvSpPr/>
          <p:nvPr/>
        </p:nvSpPr>
        <p:spPr>
          <a:xfrm>
            <a:off x="9058274" y="2350354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62EC7E-196A-4760-904E-A4E6AFF9B8D6}"/>
              </a:ext>
            </a:extLst>
          </p:cNvPr>
          <p:cNvSpPr/>
          <p:nvPr/>
        </p:nvSpPr>
        <p:spPr>
          <a:xfrm>
            <a:off x="3512563" y="2129279"/>
            <a:ext cx="2299849" cy="501281"/>
          </a:xfrm>
          <a:prstGeom prst="rect">
            <a:avLst/>
          </a:prstGeom>
          <a:solidFill>
            <a:srgbClr val="002060"/>
          </a:solidFill>
          <a:effectLst>
            <a:outerShdw dist="63500" dir="5400000" algn="t" rotWithShape="0">
              <a:srgbClr val="43C959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Volume &amp; Value </a:t>
            </a:r>
            <a:endParaRPr lang="en-US">
              <a:solidFill>
                <a:schemeClr val="bg1"/>
              </a:solidFill>
              <a:ea typeface="Calibri"/>
              <a:cs typeface="Segoe UI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C17FF7-B911-4740-A02B-01A8912F4077}"/>
              </a:ext>
            </a:extLst>
          </p:cNvPr>
          <p:cNvSpPr/>
          <p:nvPr/>
        </p:nvSpPr>
        <p:spPr>
          <a:xfrm>
            <a:off x="6379585" y="2102355"/>
            <a:ext cx="2299855" cy="528205"/>
          </a:xfrm>
          <a:prstGeom prst="rect">
            <a:avLst/>
          </a:prstGeom>
          <a:solidFill>
            <a:srgbClr val="F69320"/>
          </a:solidFill>
          <a:ln>
            <a:solidFill>
              <a:srgbClr val="F69320"/>
            </a:solidFill>
          </a:ln>
          <a:effectLst>
            <a:outerShdw dist="63500" dir="5400000" algn="t" rotWithShape="0">
              <a:srgbClr val="FFC50D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Portfolio Quality</a:t>
            </a:r>
            <a:endParaRPr lang="en-US">
              <a:solidFill>
                <a:schemeClr val="bg1"/>
              </a:solidFill>
              <a:cs typeface="Segoe U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E990F4-17A7-43CA-A898-4E1248B4CB1E}"/>
              </a:ext>
            </a:extLst>
          </p:cNvPr>
          <p:cNvSpPr/>
          <p:nvPr/>
        </p:nvSpPr>
        <p:spPr>
          <a:xfrm>
            <a:off x="9246613" y="2129279"/>
            <a:ext cx="2299849" cy="50128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>
            <a:outerShdw dist="63500" dir="5400000" algn="t" rotWithShape="0">
              <a:srgbClr val="43C959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Distributions</a:t>
            </a:r>
            <a:endParaRPr 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5507BD-0174-42FB-BF25-523B7A510B7E}"/>
              </a:ext>
            </a:extLst>
          </p:cNvPr>
          <p:cNvGrpSpPr/>
          <p:nvPr/>
        </p:nvGrpSpPr>
        <p:grpSpPr>
          <a:xfrm>
            <a:off x="4422666" y="1393577"/>
            <a:ext cx="479643" cy="445836"/>
            <a:chOff x="6276975" y="3981450"/>
            <a:chExt cx="360363" cy="334963"/>
          </a:xfrm>
          <a:solidFill>
            <a:srgbClr val="6DD57E"/>
          </a:solidFill>
          <a:effectLst/>
        </p:grpSpPr>
        <p:sp>
          <p:nvSpPr>
            <p:cNvPr id="29" name="Freeform 98">
              <a:extLst>
                <a:ext uri="{FF2B5EF4-FFF2-40B4-BE49-F238E27FC236}">
                  <a16:creationId xmlns:a16="http://schemas.microsoft.com/office/drawing/2014/main" id="{41B91872-E1D1-4276-B330-DF8008FF1A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99">
              <a:extLst>
                <a:ext uri="{FF2B5EF4-FFF2-40B4-BE49-F238E27FC236}">
                  <a16:creationId xmlns:a16="http://schemas.microsoft.com/office/drawing/2014/main" id="{3170E504-9743-414E-8F0F-55BB1D763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00">
              <a:extLst>
                <a:ext uri="{FF2B5EF4-FFF2-40B4-BE49-F238E27FC236}">
                  <a16:creationId xmlns:a16="http://schemas.microsoft.com/office/drawing/2014/main" id="{37694ABC-C8F2-4E59-903A-AE821B9EB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101">
              <a:extLst>
                <a:ext uri="{FF2B5EF4-FFF2-40B4-BE49-F238E27FC236}">
                  <a16:creationId xmlns:a16="http://schemas.microsoft.com/office/drawing/2014/main" id="{96D65F80-3AE7-4136-ADA2-3A35CC095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87F98D3-D567-4142-AC02-48EC647CA843}"/>
              </a:ext>
            </a:extLst>
          </p:cNvPr>
          <p:cNvGrpSpPr/>
          <p:nvPr/>
        </p:nvGrpSpPr>
        <p:grpSpPr>
          <a:xfrm>
            <a:off x="7289691" y="1375617"/>
            <a:ext cx="479642" cy="481757"/>
            <a:chOff x="5554663" y="3971925"/>
            <a:chExt cx="360362" cy="361951"/>
          </a:xfrm>
          <a:solidFill>
            <a:srgbClr val="FFD65A"/>
          </a:solidFill>
          <a:effectLst/>
        </p:grpSpPr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50144776-4F59-427A-88F6-E772B16DCD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208C4F03-34D1-4EEE-8F4A-A57AC58679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51151C1-6FDE-4C34-9FBE-CADAFDA2DA6A}"/>
              </a:ext>
            </a:extLst>
          </p:cNvPr>
          <p:cNvGrpSpPr/>
          <p:nvPr/>
        </p:nvGrpSpPr>
        <p:grpSpPr>
          <a:xfrm>
            <a:off x="10156716" y="1375617"/>
            <a:ext cx="479643" cy="481757"/>
            <a:chOff x="7718425" y="3248025"/>
            <a:chExt cx="360363" cy="361951"/>
          </a:xfrm>
          <a:solidFill>
            <a:srgbClr val="6DD57E"/>
          </a:solidFill>
          <a:effectLst/>
        </p:grpSpPr>
        <p:sp>
          <p:nvSpPr>
            <p:cNvPr id="37" name="Freeform 63">
              <a:extLst>
                <a:ext uri="{FF2B5EF4-FFF2-40B4-BE49-F238E27FC236}">
                  <a16:creationId xmlns:a16="http://schemas.microsoft.com/office/drawing/2014/main" id="{EECDC7A6-E89C-4ED6-BCDF-121301E2E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64">
              <a:extLst>
                <a:ext uri="{FF2B5EF4-FFF2-40B4-BE49-F238E27FC236}">
                  <a16:creationId xmlns:a16="http://schemas.microsoft.com/office/drawing/2014/main" id="{86FB7764-BFD9-4BCC-8478-54C8E6947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65">
              <a:extLst>
                <a:ext uri="{FF2B5EF4-FFF2-40B4-BE49-F238E27FC236}">
                  <a16:creationId xmlns:a16="http://schemas.microsoft.com/office/drawing/2014/main" id="{93235A6C-C0DF-42C5-94B9-D8B6DE452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66">
              <a:extLst>
                <a:ext uri="{FF2B5EF4-FFF2-40B4-BE49-F238E27FC236}">
                  <a16:creationId xmlns:a16="http://schemas.microsoft.com/office/drawing/2014/main" id="{1D23970A-668A-4688-A4B9-46E0A8F5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4E52BD3-5FC5-4958-BC4F-254764CB34B4}"/>
              </a:ext>
            </a:extLst>
          </p:cNvPr>
          <p:cNvSpPr/>
          <p:nvPr/>
        </p:nvSpPr>
        <p:spPr>
          <a:xfrm>
            <a:off x="653697" y="2878559"/>
            <a:ext cx="2291690" cy="221599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oan applications by gende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Approval &amp; acceptance rates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New-to-credit women borrowers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First-time formal borrowers.</a:t>
            </a:r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4AA6BBA-6CED-4BC6-817D-98501BC47751}"/>
              </a:ext>
            </a:extLst>
          </p:cNvPr>
          <p:cNvSpPr/>
          <p:nvPr/>
        </p:nvSpPr>
        <p:spPr>
          <a:xfrm>
            <a:off x="3520722" y="2878559"/>
            <a:ext cx="2291690" cy="246221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Disbursements (number &amp; value)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Active loan accounts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Average ticket size by sector/product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oan purpose (working capital, asset finance, trade finance etc.)</a:t>
            </a:r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4F0080A-1831-491D-80D0-6285757F5A86}"/>
              </a:ext>
            </a:extLst>
          </p:cNvPr>
          <p:cNvSpPr/>
          <p:nvPr/>
        </p:nvSpPr>
        <p:spPr>
          <a:xfrm>
            <a:off x="6387750" y="2878559"/>
            <a:ext cx="2291690" cy="221599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Delinquency &amp; NPL ratios by gende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Days-past-due distribution (30/60/90+)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Cure rates, restructures, write-offs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Loss-given-default comparisons</a:t>
            </a:r>
            <a:endParaRPr lang="en-US" sz="1600">
              <a:solidFill>
                <a:srgbClr val="29345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0964F04-A78C-44E6-B972-25C48E6E7EC7}"/>
              </a:ext>
            </a:extLst>
          </p:cNvPr>
          <p:cNvSpPr/>
          <p:nvPr/>
        </p:nvSpPr>
        <p:spPr>
          <a:xfrm>
            <a:off x="9254772" y="2878559"/>
            <a:ext cx="2712495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ending by sector (trade, agriculture, manufacturing, services, ICT, etc.)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Gender split within each secto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Sectoral NPL trends by gende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oan uptake by county/region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Performance by location (urban vs rural, county-by-county)</a:t>
            </a:r>
            <a:endParaRPr lang="en-US" sz="1600">
              <a:solidFill>
                <a:srgbClr val="293452"/>
              </a:solidFill>
              <a:latin typeface="Segoe UI"/>
              <a:cs typeface="Segoe UI"/>
            </a:endParaRPr>
          </a:p>
        </p:txBody>
      </p:sp>
      <p:pic>
        <p:nvPicPr>
          <p:cNvPr id="5" name="Picture 4" descr="A white check mark on a black background&#10;&#10;AI-generated content may be incorrect.">
            <a:extLst>
              <a:ext uri="{FF2B5EF4-FFF2-40B4-BE49-F238E27FC236}">
                <a16:creationId xmlns:a16="http://schemas.microsoft.com/office/drawing/2014/main" id="{8C829D92-FD7C-C6FC-3BE6-4A7723C032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9753" y="1318759"/>
            <a:ext cx="904875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987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C128A-B9EE-EEA4-E4FB-5094FE70F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E6C301-70DE-438B-497B-8ABDC05DB1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65C792-B6C8-41F0-BC72-9135E39D3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8E5201-69C5-BB22-EB1A-0C21D1E8E483}"/>
              </a:ext>
            </a:extLst>
          </p:cNvPr>
          <p:cNvSpPr/>
          <p:nvPr/>
        </p:nvSpPr>
        <p:spPr>
          <a:xfrm>
            <a:off x="457199" y="2350354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6DCB4-C5BE-B129-2A58-3ABD72F66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8486" y="2268"/>
            <a:ext cx="8643409" cy="752959"/>
          </a:xfrm>
        </p:spPr>
        <p:txBody>
          <a:bodyPr vert="horz"/>
          <a:lstStyle/>
          <a:p>
            <a:r>
              <a:rPr lang="en-US" sz="2400">
                <a:solidFill>
                  <a:srgbClr val="FD7F00"/>
                </a:solidFill>
                <a:latin typeface="VAG Rounded Std Thin"/>
              </a:rPr>
              <a:t>What We Track ..continue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B5CEF7-8245-63E7-744F-7E6F5A9C6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>
                <a:solidFill>
                  <a:schemeClr val="bg1"/>
                </a:solidFill>
              </a:rPr>
              <a:t>18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CE56A4-79DE-7A99-F238-78F557292806}"/>
              </a:ext>
            </a:extLst>
          </p:cNvPr>
          <p:cNvSpPr/>
          <p:nvPr/>
        </p:nvSpPr>
        <p:spPr>
          <a:xfrm>
            <a:off x="645535" y="2102355"/>
            <a:ext cx="2299855" cy="52820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dist="63500" dir="5400000" algn="t" rotWithShape="0">
              <a:srgbClr val="FFC50D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Terms 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554DC99-7974-CA72-C983-FA055A145DDC}"/>
              </a:ext>
            </a:extLst>
          </p:cNvPr>
          <p:cNvSpPr/>
          <p:nvPr/>
        </p:nvSpPr>
        <p:spPr>
          <a:xfrm>
            <a:off x="3893876" y="2384473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A4CB65E-74A2-852A-7210-F170A0BEE7AB}"/>
              </a:ext>
            </a:extLst>
          </p:cNvPr>
          <p:cNvSpPr/>
          <p:nvPr/>
        </p:nvSpPr>
        <p:spPr>
          <a:xfrm>
            <a:off x="7136214" y="2384473"/>
            <a:ext cx="2676526" cy="34535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168453-F7F8-4FD0-3849-072AFE38652A}"/>
              </a:ext>
            </a:extLst>
          </p:cNvPr>
          <p:cNvSpPr/>
          <p:nvPr/>
        </p:nvSpPr>
        <p:spPr>
          <a:xfrm>
            <a:off x="4093585" y="2102355"/>
            <a:ext cx="2299855" cy="528205"/>
          </a:xfrm>
          <a:prstGeom prst="rect">
            <a:avLst/>
          </a:prstGeom>
          <a:solidFill>
            <a:srgbClr val="FFD65A"/>
          </a:solidFill>
          <a:ln>
            <a:solidFill>
              <a:srgbClr val="F69320"/>
            </a:solidFill>
          </a:ln>
          <a:effectLst>
            <a:outerShdw dist="63500" dir="5400000" algn="t" rotWithShape="0">
              <a:srgbClr val="FFC50D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Growth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ED108E-F6BB-6EEA-45AB-B1CEAEF79E37}"/>
              </a:ext>
            </a:extLst>
          </p:cNvPr>
          <p:cNvSpPr/>
          <p:nvPr/>
        </p:nvSpPr>
        <p:spPr>
          <a:xfrm>
            <a:off x="7324553" y="2117906"/>
            <a:ext cx="2299849" cy="50128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>
            <a:outerShdw dist="63500" dir="5400000" algn="t" rotWithShape="0">
              <a:srgbClr val="43C959"/>
            </a:outerShdw>
          </a:effectLst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VAG Rounded Std Thin"/>
                <a:cs typeface="Segoe UI"/>
              </a:rPr>
              <a:t>Distributions</a:t>
            </a:r>
            <a:endParaRPr 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34" name="Freeform 27">
            <a:extLst>
              <a:ext uri="{FF2B5EF4-FFF2-40B4-BE49-F238E27FC236}">
                <a16:creationId xmlns:a16="http://schemas.microsoft.com/office/drawing/2014/main" id="{75423642-8513-1701-1F60-F90690BD5A51}"/>
              </a:ext>
            </a:extLst>
          </p:cNvPr>
          <p:cNvSpPr>
            <a:spLocks noEditPoints="1"/>
          </p:cNvSpPr>
          <p:nvPr/>
        </p:nvSpPr>
        <p:spPr bwMode="auto">
          <a:xfrm>
            <a:off x="5071930" y="1687783"/>
            <a:ext cx="340188" cy="340188"/>
          </a:xfrm>
          <a:custGeom>
            <a:avLst/>
            <a:gdLst>
              <a:gd name="T0" fmla="*/ 67 w 68"/>
              <a:gd name="T1" fmla="*/ 41 h 68"/>
              <a:gd name="T2" fmla="*/ 62 w 68"/>
              <a:gd name="T3" fmla="*/ 38 h 68"/>
              <a:gd name="T4" fmla="*/ 62 w 68"/>
              <a:gd name="T5" fmla="*/ 34 h 68"/>
              <a:gd name="T6" fmla="*/ 62 w 68"/>
              <a:gd name="T7" fmla="*/ 30 h 68"/>
              <a:gd name="T8" fmla="*/ 67 w 68"/>
              <a:gd name="T9" fmla="*/ 27 h 68"/>
              <a:gd name="T10" fmla="*/ 67 w 68"/>
              <a:gd name="T11" fmla="*/ 24 h 68"/>
              <a:gd name="T12" fmla="*/ 59 w 68"/>
              <a:gd name="T13" fmla="*/ 10 h 68"/>
              <a:gd name="T14" fmla="*/ 58 w 68"/>
              <a:gd name="T15" fmla="*/ 9 h 68"/>
              <a:gd name="T16" fmla="*/ 57 w 68"/>
              <a:gd name="T17" fmla="*/ 9 h 68"/>
              <a:gd name="T18" fmla="*/ 52 w 68"/>
              <a:gd name="T19" fmla="*/ 12 h 68"/>
              <a:gd name="T20" fmla="*/ 44 w 68"/>
              <a:gd name="T21" fmla="*/ 8 h 68"/>
              <a:gd name="T22" fmla="*/ 44 w 68"/>
              <a:gd name="T23" fmla="*/ 2 h 68"/>
              <a:gd name="T24" fmla="*/ 42 w 68"/>
              <a:gd name="T25" fmla="*/ 0 h 68"/>
              <a:gd name="T26" fmla="*/ 26 w 68"/>
              <a:gd name="T27" fmla="*/ 0 h 68"/>
              <a:gd name="T28" fmla="*/ 24 w 68"/>
              <a:gd name="T29" fmla="*/ 2 h 68"/>
              <a:gd name="T30" fmla="*/ 24 w 68"/>
              <a:gd name="T31" fmla="*/ 8 h 68"/>
              <a:gd name="T32" fmla="*/ 17 w 68"/>
              <a:gd name="T33" fmla="*/ 12 h 68"/>
              <a:gd name="T34" fmla="*/ 11 w 68"/>
              <a:gd name="T35" fmla="*/ 9 h 68"/>
              <a:gd name="T36" fmla="*/ 9 w 68"/>
              <a:gd name="T37" fmla="*/ 10 h 68"/>
              <a:gd name="T38" fmla="*/ 1 w 68"/>
              <a:gd name="T39" fmla="*/ 24 h 68"/>
              <a:gd name="T40" fmla="*/ 0 w 68"/>
              <a:gd name="T41" fmla="*/ 25 h 68"/>
              <a:gd name="T42" fmla="*/ 1 w 68"/>
              <a:gd name="T43" fmla="*/ 27 h 68"/>
              <a:gd name="T44" fmla="*/ 6 w 68"/>
              <a:gd name="T45" fmla="*/ 30 h 68"/>
              <a:gd name="T46" fmla="*/ 6 w 68"/>
              <a:gd name="T47" fmla="*/ 34 h 68"/>
              <a:gd name="T48" fmla="*/ 6 w 68"/>
              <a:gd name="T49" fmla="*/ 38 h 68"/>
              <a:gd name="T50" fmla="*/ 1 w 68"/>
              <a:gd name="T51" fmla="*/ 41 h 68"/>
              <a:gd name="T52" fmla="*/ 1 w 68"/>
              <a:gd name="T53" fmla="*/ 44 h 68"/>
              <a:gd name="T54" fmla="*/ 9 w 68"/>
              <a:gd name="T55" fmla="*/ 58 h 68"/>
              <a:gd name="T56" fmla="*/ 11 w 68"/>
              <a:gd name="T57" fmla="*/ 59 h 68"/>
              <a:gd name="T58" fmla="*/ 17 w 68"/>
              <a:gd name="T59" fmla="*/ 56 h 68"/>
              <a:gd name="T60" fmla="*/ 24 w 68"/>
              <a:gd name="T61" fmla="*/ 60 h 68"/>
              <a:gd name="T62" fmla="*/ 24 w 68"/>
              <a:gd name="T63" fmla="*/ 66 h 68"/>
              <a:gd name="T64" fmla="*/ 26 w 68"/>
              <a:gd name="T65" fmla="*/ 68 h 68"/>
              <a:gd name="T66" fmla="*/ 42 w 68"/>
              <a:gd name="T67" fmla="*/ 68 h 68"/>
              <a:gd name="T68" fmla="*/ 44 w 68"/>
              <a:gd name="T69" fmla="*/ 66 h 68"/>
              <a:gd name="T70" fmla="*/ 44 w 68"/>
              <a:gd name="T71" fmla="*/ 60 h 68"/>
              <a:gd name="T72" fmla="*/ 52 w 68"/>
              <a:gd name="T73" fmla="*/ 56 h 68"/>
              <a:gd name="T74" fmla="*/ 57 w 68"/>
              <a:gd name="T75" fmla="*/ 59 h 68"/>
              <a:gd name="T76" fmla="*/ 58 w 68"/>
              <a:gd name="T77" fmla="*/ 59 h 68"/>
              <a:gd name="T78" fmla="*/ 60 w 68"/>
              <a:gd name="T79" fmla="*/ 58 h 68"/>
              <a:gd name="T80" fmla="*/ 68 w 68"/>
              <a:gd name="T81" fmla="*/ 44 h 68"/>
              <a:gd name="T82" fmla="*/ 67 w 68"/>
              <a:gd name="T83" fmla="*/ 41 h 68"/>
              <a:gd name="T84" fmla="*/ 34 w 68"/>
              <a:gd name="T85" fmla="*/ 48 h 68"/>
              <a:gd name="T86" fmla="*/ 20 w 68"/>
              <a:gd name="T87" fmla="*/ 34 h 68"/>
              <a:gd name="T88" fmla="*/ 34 w 68"/>
              <a:gd name="T89" fmla="*/ 20 h 68"/>
              <a:gd name="T90" fmla="*/ 48 w 68"/>
              <a:gd name="T91" fmla="*/ 34 h 68"/>
              <a:gd name="T92" fmla="*/ 34 w 68"/>
              <a:gd name="T93" fmla="*/ 4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8" h="68">
                <a:moveTo>
                  <a:pt x="67" y="41"/>
                </a:moveTo>
                <a:cubicBezTo>
                  <a:pt x="62" y="38"/>
                  <a:pt x="62" y="38"/>
                  <a:pt x="62" y="38"/>
                </a:cubicBezTo>
                <a:cubicBezTo>
                  <a:pt x="62" y="37"/>
                  <a:pt x="62" y="35"/>
                  <a:pt x="62" y="34"/>
                </a:cubicBezTo>
                <a:cubicBezTo>
                  <a:pt x="62" y="33"/>
                  <a:pt x="62" y="31"/>
                  <a:pt x="62" y="30"/>
                </a:cubicBezTo>
                <a:cubicBezTo>
                  <a:pt x="67" y="27"/>
                  <a:pt x="67" y="27"/>
                  <a:pt x="67" y="27"/>
                </a:cubicBezTo>
                <a:cubicBezTo>
                  <a:pt x="68" y="26"/>
                  <a:pt x="68" y="25"/>
                  <a:pt x="67" y="24"/>
                </a:cubicBezTo>
                <a:cubicBezTo>
                  <a:pt x="59" y="10"/>
                  <a:pt x="59" y="10"/>
                  <a:pt x="59" y="10"/>
                </a:cubicBezTo>
                <a:cubicBezTo>
                  <a:pt x="59" y="10"/>
                  <a:pt x="59" y="9"/>
                  <a:pt x="58" y="9"/>
                </a:cubicBezTo>
                <a:cubicBezTo>
                  <a:pt x="58" y="9"/>
                  <a:pt x="57" y="9"/>
                  <a:pt x="57" y="9"/>
                </a:cubicBezTo>
                <a:cubicBezTo>
                  <a:pt x="52" y="12"/>
                  <a:pt x="52" y="12"/>
                  <a:pt x="52" y="12"/>
                </a:cubicBezTo>
                <a:cubicBezTo>
                  <a:pt x="50" y="10"/>
                  <a:pt x="47" y="9"/>
                  <a:pt x="44" y="8"/>
                </a:cubicBezTo>
                <a:cubicBezTo>
                  <a:pt x="44" y="2"/>
                  <a:pt x="44" y="2"/>
                  <a:pt x="44" y="2"/>
                </a:cubicBezTo>
                <a:cubicBezTo>
                  <a:pt x="44" y="1"/>
                  <a:pt x="43" y="0"/>
                  <a:pt x="42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4" y="1"/>
                  <a:pt x="24" y="2"/>
                </a:cubicBezTo>
                <a:cubicBezTo>
                  <a:pt x="24" y="8"/>
                  <a:pt x="24" y="8"/>
                  <a:pt x="24" y="8"/>
                </a:cubicBezTo>
                <a:cubicBezTo>
                  <a:pt x="22" y="9"/>
                  <a:pt x="19" y="10"/>
                  <a:pt x="17" y="12"/>
                </a:cubicBezTo>
                <a:cubicBezTo>
                  <a:pt x="11" y="9"/>
                  <a:pt x="11" y="9"/>
                  <a:pt x="11" y="9"/>
                </a:cubicBezTo>
                <a:cubicBezTo>
                  <a:pt x="10" y="9"/>
                  <a:pt x="9" y="9"/>
                  <a:pt x="9" y="10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4"/>
                  <a:pt x="0" y="25"/>
                  <a:pt x="0" y="25"/>
                </a:cubicBezTo>
                <a:cubicBezTo>
                  <a:pt x="1" y="26"/>
                  <a:pt x="1" y="26"/>
                  <a:pt x="1" y="27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1"/>
                  <a:pt x="6" y="33"/>
                  <a:pt x="6" y="34"/>
                </a:cubicBezTo>
                <a:cubicBezTo>
                  <a:pt x="6" y="35"/>
                  <a:pt x="6" y="37"/>
                  <a:pt x="6" y="38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2"/>
                  <a:pt x="0" y="43"/>
                  <a:pt x="1" y="44"/>
                </a:cubicBezTo>
                <a:cubicBezTo>
                  <a:pt x="9" y="58"/>
                  <a:pt x="9" y="58"/>
                  <a:pt x="9" y="58"/>
                </a:cubicBezTo>
                <a:cubicBezTo>
                  <a:pt x="9" y="59"/>
                  <a:pt x="10" y="59"/>
                  <a:pt x="11" y="59"/>
                </a:cubicBezTo>
                <a:cubicBezTo>
                  <a:pt x="17" y="56"/>
                  <a:pt x="17" y="56"/>
                  <a:pt x="17" y="56"/>
                </a:cubicBezTo>
                <a:cubicBezTo>
                  <a:pt x="19" y="58"/>
                  <a:pt x="22" y="59"/>
                  <a:pt x="24" y="60"/>
                </a:cubicBezTo>
                <a:cubicBezTo>
                  <a:pt x="24" y="66"/>
                  <a:pt x="24" y="66"/>
                  <a:pt x="24" y="66"/>
                </a:cubicBezTo>
                <a:cubicBezTo>
                  <a:pt x="24" y="67"/>
                  <a:pt x="25" y="68"/>
                  <a:pt x="26" y="68"/>
                </a:cubicBezTo>
                <a:cubicBezTo>
                  <a:pt x="42" y="68"/>
                  <a:pt x="42" y="68"/>
                  <a:pt x="42" y="68"/>
                </a:cubicBezTo>
                <a:cubicBezTo>
                  <a:pt x="43" y="68"/>
                  <a:pt x="44" y="67"/>
                  <a:pt x="44" y="66"/>
                </a:cubicBezTo>
                <a:cubicBezTo>
                  <a:pt x="44" y="60"/>
                  <a:pt x="44" y="60"/>
                  <a:pt x="44" y="60"/>
                </a:cubicBezTo>
                <a:cubicBezTo>
                  <a:pt x="47" y="59"/>
                  <a:pt x="50" y="58"/>
                  <a:pt x="52" y="56"/>
                </a:cubicBezTo>
                <a:cubicBezTo>
                  <a:pt x="57" y="59"/>
                  <a:pt x="57" y="59"/>
                  <a:pt x="57" y="59"/>
                </a:cubicBezTo>
                <a:cubicBezTo>
                  <a:pt x="57" y="59"/>
                  <a:pt x="58" y="59"/>
                  <a:pt x="58" y="59"/>
                </a:cubicBezTo>
                <a:cubicBezTo>
                  <a:pt x="59" y="59"/>
                  <a:pt x="59" y="58"/>
                  <a:pt x="60" y="58"/>
                </a:cubicBezTo>
                <a:cubicBezTo>
                  <a:pt x="68" y="44"/>
                  <a:pt x="68" y="44"/>
                  <a:pt x="68" y="44"/>
                </a:cubicBezTo>
                <a:cubicBezTo>
                  <a:pt x="68" y="43"/>
                  <a:pt x="68" y="42"/>
                  <a:pt x="67" y="41"/>
                </a:cubicBezTo>
                <a:close/>
                <a:moveTo>
                  <a:pt x="34" y="48"/>
                </a:moveTo>
                <a:cubicBezTo>
                  <a:pt x="26" y="48"/>
                  <a:pt x="20" y="42"/>
                  <a:pt x="20" y="34"/>
                </a:cubicBezTo>
                <a:cubicBezTo>
                  <a:pt x="20" y="26"/>
                  <a:pt x="26" y="20"/>
                  <a:pt x="34" y="20"/>
                </a:cubicBezTo>
                <a:cubicBezTo>
                  <a:pt x="42" y="20"/>
                  <a:pt x="48" y="26"/>
                  <a:pt x="48" y="34"/>
                </a:cubicBezTo>
                <a:cubicBezTo>
                  <a:pt x="48" y="42"/>
                  <a:pt x="42" y="48"/>
                  <a:pt x="34" y="48"/>
                </a:cubicBezTo>
                <a:close/>
              </a:path>
            </a:pathLst>
          </a:custGeom>
          <a:solidFill>
            <a:srgbClr val="FFD6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5673B6F-3CC6-F061-AAC8-6799E3483E2E}"/>
              </a:ext>
            </a:extLst>
          </p:cNvPr>
          <p:cNvSpPr>
            <a:spLocks noEditPoints="1"/>
          </p:cNvSpPr>
          <p:nvPr/>
        </p:nvSpPr>
        <p:spPr bwMode="auto">
          <a:xfrm>
            <a:off x="5409818" y="1648572"/>
            <a:ext cx="198619" cy="200732"/>
          </a:xfrm>
          <a:custGeom>
            <a:avLst/>
            <a:gdLst>
              <a:gd name="T0" fmla="*/ 39 w 40"/>
              <a:gd name="T1" fmla="*/ 24 h 40"/>
              <a:gd name="T2" fmla="*/ 36 w 40"/>
              <a:gd name="T3" fmla="*/ 22 h 40"/>
              <a:gd name="T4" fmla="*/ 36 w 40"/>
              <a:gd name="T5" fmla="*/ 20 h 40"/>
              <a:gd name="T6" fmla="*/ 36 w 40"/>
              <a:gd name="T7" fmla="*/ 18 h 40"/>
              <a:gd name="T8" fmla="*/ 39 w 40"/>
              <a:gd name="T9" fmla="*/ 16 h 40"/>
              <a:gd name="T10" fmla="*/ 39 w 40"/>
              <a:gd name="T11" fmla="*/ 13 h 40"/>
              <a:gd name="T12" fmla="*/ 35 w 40"/>
              <a:gd name="T13" fmla="*/ 7 h 40"/>
              <a:gd name="T14" fmla="*/ 34 w 40"/>
              <a:gd name="T15" fmla="*/ 6 h 40"/>
              <a:gd name="T16" fmla="*/ 33 w 40"/>
              <a:gd name="T17" fmla="*/ 6 h 40"/>
              <a:gd name="T18" fmla="*/ 30 w 40"/>
              <a:gd name="T19" fmla="*/ 7 h 40"/>
              <a:gd name="T20" fmla="*/ 26 w 40"/>
              <a:gd name="T21" fmla="*/ 5 h 40"/>
              <a:gd name="T22" fmla="*/ 26 w 40"/>
              <a:gd name="T23" fmla="*/ 2 h 40"/>
              <a:gd name="T24" fmla="*/ 24 w 40"/>
              <a:gd name="T25" fmla="*/ 0 h 40"/>
              <a:gd name="T26" fmla="*/ 16 w 40"/>
              <a:gd name="T27" fmla="*/ 0 h 40"/>
              <a:gd name="T28" fmla="*/ 14 w 40"/>
              <a:gd name="T29" fmla="*/ 2 h 40"/>
              <a:gd name="T30" fmla="*/ 14 w 40"/>
              <a:gd name="T31" fmla="*/ 5 h 40"/>
              <a:gd name="T32" fmla="*/ 10 w 40"/>
              <a:gd name="T33" fmla="*/ 7 h 40"/>
              <a:gd name="T34" fmla="*/ 8 w 40"/>
              <a:gd name="T35" fmla="*/ 6 h 40"/>
              <a:gd name="T36" fmla="*/ 5 w 40"/>
              <a:gd name="T37" fmla="*/ 7 h 40"/>
              <a:gd name="T38" fmla="*/ 1 w 40"/>
              <a:gd name="T39" fmla="*/ 13 h 40"/>
              <a:gd name="T40" fmla="*/ 1 w 40"/>
              <a:gd name="T41" fmla="*/ 15 h 40"/>
              <a:gd name="T42" fmla="*/ 1 w 40"/>
              <a:gd name="T43" fmla="*/ 16 h 40"/>
              <a:gd name="T44" fmla="*/ 4 w 40"/>
              <a:gd name="T45" fmla="*/ 18 h 40"/>
              <a:gd name="T46" fmla="*/ 4 w 40"/>
              <a:gd name="T47" fmla="*/ 20 h 40"/>
              <a:gd name="T48" fmla="*/ 4 w 40"/>
              <a:gd name="T49" fmla="*/ 22 h 40"/>
              <a:gd name="T50" fmla="*/ 1 w 40"/>
              <a:gd name="T51" fmla="*/ 24 h 40"/>
              <a:gd name="T52" fmla="*/ 1 w 40"/>
              <a:gd name="T53" fmla="*/ 25 h 40"/>
              <a:gd name="T54" fmla="*/ 1 w 40"/>
              <a:gd name="T55" fmla="*/ 27 h 40"/>
              <a:gd name="T56" fmla="*/ 5 w 40"/>
              <a:gd name="T57" fmla="*/ 33 h 40"/>
              <a:gd name="T58" fmla="*/ 7 w 40"/>
              <a:gd name="T59" fmla="*/ 34 h 40"/>
              <a:gd name="T60" fmla="*/ 10 w 40"/>
              <a:gd name="T61" fmla="*/ 33 h 40"/>
              <a:gd name="T62" fmla="*/ 14 w 40"/>
              <a:gd name="T63" fmla="*/ 35 h 40"/>
              <a:gd name="T64" fmla="*/ 14 w 40"/>
              <a:gd name="T65" fmla="*/ 38 h 40"/>
              <a:gd name="T66" fmla="*/ 16 w 40"/>
              <a:gd name="T67" fmla="*/ 40 h 40"/>
              <a:gd name="T68" fmla="*/ 24 w 40"/>
              <a:gd name="T69" fmla="*/ 40 h 40"/>
              <a:gd name="T70" fmla="*/ 26 w 40"/>
              <a:gd name="T71" fmla="*/ 38 h 40"/>
              <a:gd name="T72" fmla="*/ 26 w 40"/>
              <a:gd name="T73" fmla="*/ 35 h 40"/>
              <a:gd name="T74" fmla="*/ 30 w 40"/>
              <a:gd name="T75" fmla="*/ 33 h 40"/>
              <a:gd name="T76" fmla="*/ 33 w 40"/>
              <a:gd name="T77" fmla="*/ 34 h 40"/>
              <a:gd name="T78" fmla="*/ 34 w 40"/>
              <a:gd name="T79" fmla="*/ 34 h 40"/>
              <a:gd name="T80" fmla="*/ 35 w 40"/>
              <a:gd name="T81" fmla="*/ 33 h 40"/>
              <a:gd name="T82" fmla="*/ 39 w 40"/>
              <a:gd name="T83" fmla="*/ 27 h 40"/>
              <a:gd name="T84" fmla="*/ 39 w 40"/>
              <a:gd name="T85" fmla="*/ 24 h 40"/>
              <a:gd name="T86" fmla="*/ 20 w 40"/>
              <a:gd name="T87" fmla="*/ 28 h 40"/>
              <a:gd name="T88" fmla="*/ 12 w 40"/>
              <a:gd name="T89" fmla="*/ 20 h 40"/>
              <a:gd name="T90" fmla="*/ 20 w 40"/>
              <a:gd name="T91" fmla="*/ 12 h 40"/>
              <a:gd name="T92" fmla="*/ 28 w 40"/>
              <a:gd name="T93" fmla="*/ 20 h 40"/>
              <a:gd name="T94" fmla="*/ 20 w 40"/>
              <a:gd name="T95" fmla="*/ 2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0" h="40">
                <a:moveTo>
                  <a:pt x="39" y="24"/>
                </a:moveTo>
                <a:cubicBezTo>
                  <a:pt x="36" y="22"/>
                  <a:pt x="36" y="22"/>
                  <a:pt x="36" y="22"/>
                </a:cubicBezTo>
                <a:cubicBezTo>
                  <a:pt x="36" y="21"/>
                  <a:pt x="36" y="21"/>
                  <a:pt x="36" y="20"/>
                </a:cubicBezTo>
                <a:cubicBezTo>
                  <a:pt x="36" y="19"/>
                  <a:pt x="36" y="19"/>
                  <a:pt x="36" y="18"/>
                </a:cubicBezTo>
                <a:cubicBezTo>
                  <a:pt x="39" y="16"/>
                  <a:pt x="39" y="16"/>
                  <a:pt x="39" y="16"/>
                </a:cubicBezTo>
                <a:cubicBezTo>
                  <a:pt x="40" y="16"/>
                  <a:pt x="40" y="14"/>
                  <a:pt x="39" y="13"/>
                </a:cubicBezTo>
                <a:cubicBezTo>
                  <a:pt x="35" y="7"/>
                  <a:pt x="35" y="7"/>
                  <a:pt x="35" y="7"/>
                </a:cubicBezTo>
                <a:cubicBezTo>
                  <a:pt x="35" y="6"/>
                  <a:pt x="35" y="6"/>
                  <a:pt x="34" y="6"/>
                </a:cubicBezTo>
                <a:cubicBezTo>
                  <a:pt x="34" y="5"/>
                  <a:pt x="33" y="6"/>
                  <a:pt x="33" y="6"/>
                </a:cubicBezTo>
                <a:cubicBezTo>
                  <a:pt x="30" y="7"/>
                  <a:pt x="30" y="7"/>
                  <a:pt x="30" y="7"/>
                </a:cubicBezTo>
                <a:cubicBezTo>
                  <a:pt x="29" y="6"/>
                  <a:pt x="28" y="6"/>
                  <a:pt x="26" y="5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1"/>
                  <a:pt x="25" y="0"/>
                  <a:pt x="24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4" y="1"/>
                  <a:pt x="14" y="2"/>
                </a:cubicBezTo>
                <a:cubicBezTo>
                  <a:pt x="14" y="5"/>
                  <a:pt x="14" y="5"/>
                  <a:pt x="14" y="5"/>
                </a:cubicBezTo>
                <a:cubicBezTo>
                  <a:pt x="13" y="6"/>
                  <a:pt x="12" y="7"/>
                  <a:pt x="10" y="7"/>
                </a:cubicBezTo>
                <a:cubicBezTo>
                  <a:pt x="8" y="6"/>
                  <a:pt x="8" y="6"/>
                  <a:pt x="8" y="6"/>
                </a:cubicBezTo>
                <a:cubicBezTo>
                  <a:pt x="7" y="5"/>
                  <a:pt x="5" y="6"/>
                  <a:pt x="5" y="7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4"/>
                  <a:pt x="0" y="14"/>
                  <a:pt x="1" y="15"/>
                </a:cubicBezTo>
                <a:cubicBezTo>
                  <a:pt x="1" y="15"/>
                  <a:pt x="1" y="16"/>
                  <a:pt x="1" y="16"/>
                </a:cubicBezTo>
                <a:cubicBezTo>
                  <a:pt x="4" y="18"/>
                  <a:pt x="4" y="18"/>
                  <a:pt x="4" y="18"/>
                </a:cubicBezTo>
                <a:cubicBezTo>
                  <a:pt x="4" y="19"/>
                  <a:pt x="4" y="19"/>
                  <a:pt x="4" y="20"/>
                </a:cubicBezTo>
                <a:cubicBezTo>
                  <a:pt x="4" y="21"/>
                  <a:pt x="4" y="21"/>
                  <a:pt x="4" y="22"/>
                </a:cubicBezTo>
                <a:cubicBezTo>
                  <a:pt x="1" y="24"/>
                  <a:pt x="1" y="24"/>
                  <a:pt x="1" y="24"/>
                </a:cubicBezTo>
                <a:cubicBezTo>
                  <a:pt x="1" y="24"/>
                  <a:pt x="1" y="25"/>
                  <a:pt x="1" y="25"/>
                </a:cubicBezTo>
                <a:cubicBezTo>
                  <a:pt x="0" y="26"/>
                  <a:pt x="0" y="26"/>
                  <a:pt x="1" y="27"/>
                </a:cubicBezTo>
                <a:cubicBezTo>
                  <a:pt x="5" y="33"/>
                  <a:pt x="5" y="33"/>
                  <a:pt x="5" y="33"/>
                </a:cubicBezTo>
                <a:cubicBezTo>
                  <a:pt x="5" y="34"/>
                  <a:pt x="6" y="35"/>
                  <a:pt x="7" y="34"/>
                </a:cubicBezTo>
                <a:cubicBezTo>
                  <a:pt x="10" y="33"/>
                  <a:pt x="10" y="33"/>
                  <a:pt x="10" y="33"/>
                </a:cubicBezTo>
                <a:cubicBezTo>
                  <a:pt x="12" y="33"/>
                  <a:pt x="13" y="34"/>
                  <a:pt x="14" y="35"/>
                </a:cubicBezTo>
                <a:cubicBezTo>
                  <a:pt x="14" y="38"/>
                  <a:pt x="14" y="38"/>
                  <a:pt x="14" y="38"/>
                </a:cubicBezTo>
                <a:cubicBezTo>
                  <a:pt x="14" y="39"/>
                  <a:pt x="15" y="40"/>
                  <a:pt x="16" y="40"/>
                </a:cubicBezTo>
                <a:cubicBezTo>
                  <a:pt x="24" y="40"/>
                  <a:pt x="24" y="40"/>
                  <a:pt x="24" y="40"/>
                </a:cubicBezTo>
                <a:cubicBezTo>
                  <a:pt x="25" y="40"/>
                  <a:pt x="26" y="39"/>
                  <a:pt x="26" y="38"/>
                </a:cubicBezTo>
                <a:cubicBezTo>
                  <a:pt x="26" y="35"/>
                  <a:pt x="26" y="35"/>
                  <a:pt x="26" y="35"/>
                </a:cubicBezTo>
                <a:cubicBezTo>
                  <a:pt x="28" y="34"/>
                  <a:pt x="29" y="34"/>
                  <a:pt x="30" y="33"/>
                </a:cubicBezTo>
                <a:cubicBezTo>
                  <a:pt x="33" y="34"/>
                  <a:pt x="33" y="34"/>
                  <a:pt x="33" y="34"/>
                </a:cubicBezTo>
                <a:cubicBezTo>
                  <a:pt x="33" y="34"/>
                  <a:pt x="34" y="35"/>
                  <a:pt x="34" y="34"/>
                </a:cubicBezTo>
                <a:cubicBezTo>
                  <a:pt x="35" y="34"/>
                  <a:pt x="35" y="34"/>
                  <a:pt x="35" y="33"/>
                </a:cubicBezTo>
                <a:cubicBezTo>
                  <a:pt x="39" y="27"/>
                  <a:pt x="39" y="27"/>
                  <a:pt x="39" y="27"/>
                </a:cubicBezTo>
                <a:cubicBezTo>
                  <a:pt x="40" y="26"/>
                  <a:pt x="40" y="24"/>
                  <a:pt x="39" y="24"/>
                </a:cubicBezTo>
                <a:close/>
                <a:moveTo>
                  <a:pt x="20" y="28"/>
                </a:moveTo>
                <a:cubicBezTo>
                  <a:pt x="16" y="28"/>
                  <a:pt x="12" y="24"/>
                  <a:pt x="12" y="20"/>
                </a:cubicBezTo>
                <a:cubicBezTo>
                  <a:pt x="12" y="16"/>
                  <a:pt x="16" y="12"/>
                  <a:pt x="20" y="12"/>
                </a:cubicBezTo>
                <a:cubicBezTo>
                  <a:pt x="24" y="12"/>
                  <a:pt x="28" y="16"/>
                  <a:pt x="28" y="20"/>
                </a:cubicBezTo>
                <a:cubicBezTo>
                  <a:pt x="28" y="24"/>
                  <a:pt x="24" y="28"/>
                  <a:pt x="20" y="28"/>
                </a:cubicBezTo>
                <a:close/>
              </a:path>
            </a:pathLst>
          </a:custGeom>
          <a:solidFill>
            <a:srgbClr val="FFD6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1220759-D829-F234-6F45-C7CC09B46DF4}"/>
              </a:ext>
            </a:extLst>
          </p:cNvPr>
          <p:cNvGrpSpPr/>
          <p:nvPr/>
        </p:nvGrpSpPr>
        <p:grpSpPr>
          <a:xfrm>
            <a:off x="8234656" y="1546214"/>
            <a:ext cx="479643" cy="481757"/>
            <a:chOff x="7718425" y="3248025"/>
            <a:chExt cx="360363" cy="361951"/>
          </a:xfrm>
          <a:solidFill>
            <a:srgbClr val="6DD57E"/>
          </a:solidFill>
          <a:effectLst/>
        </p:grpSpPr>
        <p:sp>
          <p:nvSpPr>
            <p:cNvPr id="37" name="Freeform 63">
              <a:extLst>
                <a:ext uri="{FF2B5EF4-FFF2-40B4-BE49-F238E27FC236}">
                  <a16:creationId xmlns:a16="http://schemas.microsoft.com/office/drawing/2014/main" id="{1D828C5F-70DF-EA27-0B2C-E63DE03FA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64">
              <a:extLst>
                <a:ext uri="{FF2B5EF4-FFF2-40B4-BE49-F238E27FC236}">
                  <a16:creationId xmlns:a16="http://schemas.microsoft.com/office/drawing/2014/main" id="{3A3D9A58-A1E1-3D23-467F-D285223B1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65">
              <a:extLst>
                <a:ext uri="{FF2B5EF4-FFF2-40B4-BE49-F238E27FC236}">
                  <a16:creationId xmlns:a16="http://schemas.microsoft.com/office/drawing/2014/main" id="{0BFDBBBE-6780-D546-3C06-BE792C51E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66">
              <a:extLst>
                <a:ext uri="{FF2B5EF4-FFF2-40B4-BE49-F238E27FC236}">
                  <a16:creationId xmlns:a16="http://schemas.microsoft.com/office/drawing/2014/main" id="{89E5DA10-F42C-1B89-C9B9-3D03E2632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2EA60BC-0C9D-A08A-65DA-AA35C71B1613}"/>
              </a:ext>
            </a:extLst>
          </p:cNvPr>
          <p:cNvSpPr/>
          <p:nvPr/>
        </p:nvSpPr>
        <p:spPr>
          <a:xfrm>
            <a:off x="653697" y="2878559"/>
            <a:ext cx="2291690" cy="221599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endParaRPr lang="en-US" sz="1600" b="1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  <a:p>
            <a:pPr marL="228600" indent="-22860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Tenor &amp; repayment frequency</a:t>
            </a:r>
          </a:p>
          <a:p>
            <a:pPr marL="228600" indent="-22860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Collateral &amp; guarantee usage</a:t>
            </a:r>
          </a:p>
          <a:p>
            <a:pPr marL="228600" indent="-22860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Alternative security instruments (group guarantees, movable assets)</a:t>
            </a:r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A1FDF89-2215-9D19-16AC-5519C62FF0C8}"/>
              </a:ext>
            </a:extLst>
          </p:cNvPr>
          <p:cNvSpPr/>
          <p:nvPr/>
        </p:nvSpPr>
        <p:spPr>
          <a:xfrm>
            <a:off x="3520722" y="2878559"/>
            <a:ext cx="2291690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en-US" sz="1600">
              <a:latin typeface="VAG Rounded Std Thin"/>
              <a:cs typeface="Segoe UI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65D8B14-0660-33A3-2E9B-663138AD0F95}"/>
              </a:ext>
            </a:extLst>
          </p:cNvPr>
          <p:cNvSpPr/>
          <p:nvPr/>
        </p:nvSpPr>
        <p:spPr>
          <a:xfrm>
            <a:off x="3908407" y="2878559"/>
            <a:ext cx="2678376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Whether women who start with </a:t>
            </a:r>
            <a:r>
              <a:rPr lang="en-US" sz="1600" b="1">
                <a:solidFill>
                  <a:srgbClr val="000000"/>
                </a:solidFill>
                <a:latin typeface="VAG Rounded Std Thin"/>
                <a:cs typeface="Segoe UI"/>
              </a:rPr>
              <a:t>smaller</a:t>
            </a: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 loans are able to bigger </a:t>
            </a:r>
            <a:r>
              <a:rPr lang="en-US" sz="1600" b="1">
                <a:solidFill>
                  <a:srgbClr val="000000"/>
                </a:solidFill>
                <a:latin typeface="VAG Rounded Std Thin"/>
                <a:cs typeface="Segoe UI"/>
              </a:rPr>
              <a:t>loans</a:t>
            </a: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.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How repeat borrowing works( are women rewarded with bigger limits after good repayment?)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Whether step-ups (increased loan sizes) are happening </a:t>
            </a: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fairly between men and women.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VAG Rounded Std Thin"/>
              <a:cs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5FC6053-8E9D-387B-7D7C-958F0A6E9C99}"/>
              </a:ext>
            </a:extLst>
          </p:cNvPr>
          <p:cNvSpPr/>
          <p:nvPr/>
        </p:nvSpPr>
        <p:spPr>
          <a:xfrm>
            <a:off x="7253100" y="2844440"/>
            <a:ext cx="2712495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ending by sector (trade, agriculture, manufacturing, services, ICT, etc.)</a:t>
            </a:r>
            <a:endParaRPr lang="en-US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Gender split within each secto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Sectoral NPL trends by gende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 panose="020B0502040204020203" pitchFamily="34" charset="0"/>
              </a:rPr>
              <a:t>Loan uptake by county/region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VAG Rounded Std Thin"/>
                <a:cs typeface="Segoe UI"/>
              </a:rPr>
              <a:t>Performance by location (urban vs rural, county-by-county)</a:t>
            </a:r>
            <a:endParaRPr lang="en-US" sz="1600">
              <a:solidFill>
                <a:srgbClr val="293452"/>
              </a:solidFill>
              <a:latin typeface="Segoe UI"/>
              <a:cs typeface="Segoe UI"/>
            </a:endParaRPr>
          </a:p>
        </p:txBody>
      </p:sp>
      <p:pic>
        <p:nvPicPr>
          <p:cNvPr id="3" name="Picture 2" descr="A white hand holding a clock&#10;&#10;AI-generated content may be incorrect.">
            <a:extLst>
              <a:ext uri="{FF2B5EF4-FFF2-40B4-BE49-F238E27FC236}">
                <a16:creationId xmlns:a16="http://schemas.microsoft.com/office/drawing/2014/main" id="{AB3FC5F2-BDE6-3E94-E818-3FC714FFE2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1128" y="11520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1003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35255-D14B-C56D-B478-200B57AEF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E5CB98-2F01-5E2D-122D-CC6DEC891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13" y="3304033"/>
            <a:ext cx="6034087" cy="18045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>
                <a:solidFill>
                  <a:srgbClr val="F69320"/>
                </a:solidFill>
                <a:latin typeface="VAG Rounded Std Thin" panose="020F0402020204020204" pitchFamily="34" charset="0"/>
              </a:rPr>
              <a:t>Kenya’s coalition approach</a:t>
            </a:r>
          </a:p>
        </p:txBody>
      </p:sp>
      <p:pic>
        <p:nvPicPr>
          <p:cNvPr id="6" name="Picture Placeholder 5" descr="A person smiling at a cell phone&#10;&#10;Description automatically generated">
            <a:extLst>
              <a:ext uri="{FF2B5EF4-FFF2-40B4-BE49-F238E27FC236}">
                <a16:creationId xmlns:a16="http://schemas.microsoft.com/office/drawing/2014/main" id="{39B06CB1-95F9-70F2-D43F-2580788FF4F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34" b="6034"/>
          <a:stretch>
            <a:fillRect/>
          </a:stretch>
        </p:blipFill>
        <p:spPr>
          <a:xfrm>
            <a:off x="6994888" y="1008841"/>
            <a:ext cx="4664075" cy="5567883"/>
          </a:xfrm>
        </p:spPr>
      </p:pic>
    </p:spTree>
    <p:extLst>
      <p:ext uri="{BB962C8B-B14F-4D97-AF65-F5344CB8AC3E}">
        <p14:creationId xmlns:p14="http://schemas.microsoft.com/office/powerpoint/2010/main" val="1379265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CF9BFF-42BB-08D2-2F03-99EE4A924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iamond 12">
            <a:extLst>
              <a:ext uri="{FF2B5EF4-FFF2-40B4-BE49-F238E27FC236}">
                <a16:creationId xmlns:a16="http://schemas.microsoft.com/office/drawing/2014/main" id="{553AB721-88F0-606A-F5BF-0E7C52984BB3}"/>
              </a:ext>
            </a:extLst>
          </p:cNvPr>
          <p:cNvSpPr/>
          <p:nvPr/>
        </p:nvSpPr>
        <p:spPr>
          <a:xfrm>
            <a:off x="3538386" y="2317249"/>
            <a:ext cx="2193208" cy="1974225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B2D0B09-7324-2A26-FEBF-127AAD4DCFA7}"/>
              </a:ext>
            </a:extLst>
          </p:cNvPr>
          <p:cNvSpPr txBox="1"/>
          <p:nvPr/>
        </p:nvSpPr>
        <p:spPr>
          <a:xfrm>
            <a:off x="1352005" y="1785257"/>
            <a:ext cx="6496595" cy="35948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Why funding women matters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The power of gender-disaggregated data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Kenya’s coalition approach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From data to products &amp; policies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b="1">
                <a:solidFill>
                  <a:schemeClr val="accent1">
                    <a:lumMod val="50000"/>
                  </a:schemeClr>
                </a:solidFill>
                <a:latin typeface="VAG Rounded Std Thin" panose="020F0402020204020204" pitchFamily="34" charset="0"/>
              </a:rPr>
              <a:t>Expected impact</a:t>
            </a:r>
            <a:endParaRPr lang="en-US" sz="140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CE7C5DE-2F31-325E-F45A-194DD5C92CCF}"/>
              </a:ext>
            </a:extLst>
          </p:cNvPr>
          <p:cNvSpPr txBox="1"/>
          <p:nvPr/>
        </p:nvSpPr>
        <p:spPr>
          <a:xfrm>
            <a:off x="1882527" y="0"/>
            <a:ext cx="8077840" cy="8456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800" b="1">
                <a:solidFill>
                  <a:srgbClr val="F69320"/>
                </a:solidFill>
                <a:latin typeface="VAG Rounded Std Thin" panose="020F0402020204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918778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A6867-CE25-53F7-F85B-8B95F629BC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FF6B25C4-5F99-C8ED-B3FE-E6272CBA3D80}"/>
              </a:ext>
            </a:extLst>
          </p:cNvPr>
          <p:cNvSpPr txBox="1"/>
          <p:nvPr/>
        </p:nvSpPr>
        <p:spPr>
          <a:xfrm>
            <a:off x="1883397" y="251173"/>
            <a:ext cx="8077840" cy="433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2000" b="1" kern="100">
                <a:solidFill>
                  <a:srgbClr val="F69320"/>
                </a:solidFill>
                <a:effectLst/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nya’s Coalition Approach …The WE Finance Code Kenya Chapter</a:t>
            </a:r>
            <a:endParaRPr lang="en-US" sz="2000" kern="100">
              <a:solidFill>
                <a:srgbClr val="F69320"/>
              </a:solidFill>
              <a:effectLst/>
              <a:latin typeface="VAG Rounded Std Thin" panose="020F0402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841E4DF4-9127-8B2E-AC76-5035F5F9C3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716" y="1013866"/>
            <a:ext cx="10259964" cy="3293827"/>
          </a:xfrm>
          <a:prstGeom prst="rect">
            <a:avLst/>
          </a:prstGeom>
        </p:spPr>
      </p:pic>
      <p:pic>
        <p:nvPicPr>
          <p:cNvPr id="3" name="Picture 2" descr="A black and white logo&#10;&#10;AI-generated content may be incorrect.">
            <a:extLst>
              <a:ext uri="{FF2B5EF4-FFF2-40B4-BE49-F238E27FC236}">
                <a16:creationId xmlns:a16="http://schemas.microsoft.com/office/drawing/2014/main" id="{602300E6-5D1C-3722-478C-3D3B61317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070" y="5146086"/>
            <a:ext cx="2668592" cy="139609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2057A7-EC2B-ED8D-DD05-845BC3D0D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4050" y="5285485"/>
            <a:ext cx="1421950" cy="12566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6F648E-8258-2877-7FC5-C8622453C2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4388" y="5553871"/>
            <a:ext cx="2040374" cy="5805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8F738D9-99CA-2FFF-0D33-7E17FCE1B4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30392" y="4914994"/>
            <a:ext cx="2261690" cy="1858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2979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25E67EC-900F-4628-A725-8793F9AE0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58" y="2123549"/>
            <a:ext cx="12185650" cy="481013"/>
          </a:xfrm>
          <a:prstGeom prst="rect">
            <a:avLst/>
          </a:prstGeom>
          <a:gradFill>
            <a:gsLst>
              <a:gs pos="0">
                <a:srgbClr val="26EDA0"/>
              </a:gs>
              <a:gs pos="26000">
                <a:srgbClr val="17CEC4"/>
              </a:gs>
              <a:gs pos="59000">
                <a:srgbClr val="03A4F5"/>
              </a:gs>
            </a:gsLst>
            <a:lin ang="7200000" scaled="0"/>
          </a:gradFill>
          <a:ln>
            <a:noFill/>
          </a:ln>
          <a:effectLst>
            <a:innerShdw blurRad="279400" dist="50800" dir="5400000">
              <a:prstClr val="black">
                <a:alpha val="12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VAG Rounded Std Thin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BB0432-B839-4666-80E1-86AB6EC5FB3A}"/>
              </a:ext>
            </a:extLst>
          </p:cNvPr>
          <p:cNvGrpSpPr/>
          <p:nvPr/>
        </p:nvGrpSpPr>
        <p:grpSpPr>
          <a:xfrm>
            <a:off x="1028385" y="1862286"/>
            <a:ext cx="850900" cy="962026"/>
            <a:chOff x="1470312" y="1604963"/>
            <a:chExt cx="850900" cy="9620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74C16CE-0644-4A39-86C2-22796004D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949" y="1604963"/>
              <a:ext cx="576263" cy="481013"/>
            </a:xfrm>
            <a:custGeom>
              <a:avLst/>
              <a:gdLst>
                <a:gd name="T0" fmla="*/ 363 w 363"/>
                <a:gd name="T1" fmla="*/ 303 h 303"/>
                <a:gd name="T2" fmla="*/ 138 w 363"/>
                <a:gd name="T3" fmla="*/ 303 h 303"/>
                <a:gd name="T4" fmla="*/ 0 w 363"/>
                <a:gd name="T5" fmla="*/ 0 h 303"/>
                <a:gd name="T6" fmla="*/ 225 w 363"/>
                <a:gd name="T7" fmla="*/ 0 h 303"/>
                <a:gd name="T8" fmla="*/ 363 w 363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03">
                  <a:moveTo>
                    <a:pt x="363" y="303"/>
                  </a:moveTo>
                  <a:lnTo>
                    <a:pt x="138" y="303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363" y="303"/>
                  </a:lnTo>
                  <a:close/>
                </a:path>
              </a:pathLst>
            </a:custGeom>
            <a:solidFill>
              <a:srgbClr val="3163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A49030E9-3489-41E9-B049-77A2350F0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12" y="2085976"/>
              <a:ext cx="850900" cy="481013"/>
            </a:xfrm>
            <a:custGeom>
              <a:avLst/>
              <a:gdLst>
                <a:gd name="T0" fmla="*/ 536 w 536"/>
                <a:gd name="T1" fmla="*/ 0 h 303"/>
                <a:gd name="T2" fmla="*/ 311 w 536"/>
                <a:gd name="T3" fmla="*/ 0 h 303"/>
                <a:gd name="T4" fmla="*/ 0 w 536"/>
                <a:gd name="T5" fmla="*/ 303 h 303"/>
                <a:gd name="T6" fmla="*/ 225 w 536"/>
                <a:gd name="T7" fmla="*/ 303 h 303"/>
                <a:gd name="T8" fmla="*/ 536 w 53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6" h="303">
                  <a:moveTo>
                    <a:pt x="536" y="0"/>
                  </a:moveTo>
                  <a:lnTo>
                    <a:pt x="311" y="0"/>
                  </a:lnTo>
                  <a:lnTo>
                    <a:pt x="0" y="303"/>
                  </a:lnTo>
                  <a:lnTo>
                    <a:pt x="225" y="303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rgbClr val="4B3D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72BE5D9-77EE-4091-B905-645901185668}"/>
              </a:ext>
            </a:extLst>
          </p:cNvPr>
          <p:cNvSpPr txBox="1"/>
          <p:nvPr/>
        </p:nvSpPr>
        <p:spPr>
          <a:xfrm>
            <a:off x="125905" y="2158633"/>
            <a:ext cx="102288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Jan-Feb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4C41288-E3CC-470A-873F-77FFACB2605A}"/>
              </a:ext>
            </a:extLst>
          </p:cNvPr>
          <p:cNvGrpSpPr/>
          <p:nvPr/>
        </p:nvGrpSpPr>
        <p:grpSpPr>
          <a:xfrm>
            <a:off x="2926045" y="1862286"/>
            <a:ext cx="850900" cy="962026"/>
            <a:chOff x="1470312" y="1604963"/>
            <a:chExt cx="850900" cy="962026"/>
          </a:xfrm>
        </p:grpSpPr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A8AB644-540B-487B-8741-236DEA413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949" y="1604963"/>
              <a:ext cx="576263" cy="481013"/>
            </a:xfrm>
            <a:custGeom>
              <a:avLst/>
              <a:gdLst>
                <a:gd name="T0" fmla="*/ 363 w 363"/>
                <a:gd name="T1" fmla="*/ 303 h 303"/>
                <a:gd name="T2" fmla="*/ 138 w 363"/>
                <a:gd name="T3" fmla="*/ 303 h 303"/>
                <a:gd name="T4" fmla="*/ 0 w 363"/>
                <a:gd name="T5" fmla="*/ 0 h 303"/>
                <a:gd name="T6" fmla="*/ 225 w 363"/>
                <a:gd name="T7" fmla="*/ 0 h 303"/>
                <a:gd name="T8" fmla="*/ 363 w 363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03">
                  <a:moveTo>
                    <a:pt x="363" y="303"/>
                  </a:moveTo>
                  <a:lnTo>
                    <a:pt x="138" y="303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363" y="303"/>
                  </a:lnTo>
                  <a:close/>
                </a:path>
              </a:pathLst>
            </a:custGeom>
            <a:solidFill>
              <a:srgbClr val="3163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9426B39B-C394-45C6-8B53-CACC5FADB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12" y="2085976"/>
              <a:ext cx="850900" cy="481013"/>
            </a:xfrm>
            <a:custGeom>
              <a:avLst/>
              <a:gdLst>
                <a:gd name="T0" fmla="*/ 536 w 536"/>
                <a:gd name="T1" fmla="*/ 0 h 303"/>
                <a:gd name="T2" fmla="*/ 311 w 536"/>
                <a:gd name="T3" fmla="*/ 0 h 303"/>
                <a:gd name="T4" fmla="*/ 0 w 536"/>
                <a:gd name="T5" fmla="*/ 303 h 303"/>
                <a:gd name="T6" fmla="*/ 225 w 536"/>
                <a:gd name="T7" fmla="*/ 303 h 303"/>
                <a:gd name="T8" fmla="*/ 536 w 53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6" h="303">
                  <a:moveTo>
                    <a:pt x="536" y="0"/>
                  </a:moveTo>
                  <a:lnTo>
                    <a:pt x="311" y="0"/>
                  </a:lnTo>
                  <a:lnTo>
                    <a:pt x="0" y="303"/>
                  </a:lnTo>
                  <a:lnTo>
                    <a:pt x="225" y="303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rgbClr val="4B3D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22ABFF7-DC34-42AB-BCB1-1FF973E94664}"/>
              </a:ext>
            </a:extLst>
          </p:cNvPr>
          <p:cNvSpPr txBox="1"/>
          <p:nvPr/>
        </p:nvSpPr>
        <p:spPr>
          <a:xfrm>
            <a:off x="2248833" y="2158633"/>
            <a:ext cx="7950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March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562E88A-8CE3-4010-BCA9-993A0A26CB20}"/>
              </a:ext>
            </a:extLst>
          </p:cNvPr>
          <p:cNvGrpSpPr/>
          <p:nvPr/>
        </p:nvGrpSpPr>
        <p:grpSpPr>
          <a:xfrm>
            <a:off x="4899307" y="1862286"/>
            <a:ext cx="850900" cy="962026"/>
            <a:chOff x="1470312" y="1604963"/>
            <a:chExt cx="850900" cy="962026"/>
          </a:xfrm>
        </p:grpSpPr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AB9B6A4E-3613-4FF1-AF78-4E3B5BA19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949" y="1604963"/>
              <a:ext cx="576263" cy="481013"/>
            </a:xfrm>
            <a:custGeom>
              <a:avLst/>
              <a:gdLst>
                <a:gd name="T0" fmla="*/ 363 w 363"/>
                <a:gd name="T1" fmla="*/ 303 h 303"/>
                <a:gd name="T2" fmla="*/ 138 w 363"/>
                <a:gd name="T3" fmla="*/ 303 h 303"/>
                <a:gd name="T4" fmla="*/ 0 w 363"/>
                <a:gd name="T5" fmla="*/ 0 h 303"/>
                <a:gd name="T6" fmla="*/ 225 w 363"/>
                <a:gd name="T7" fmla="*/ 0 h 303"/>
                <a:gd name="T8" fmla="*/ 363 w 363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03">
                  <a:moveTo>
                    <a:pt x="363" y="303"/>
                  </a:moveTo>
                  <a:lnTo>
                    <a:pt x="138" y="303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363" y="303"/>
                  </a:lnTo>
                  <a:close/>
                </a:path>
              </a:pathLst>
            </a:custGeom>
            <a:solidFill>
              <a:srgbClr val="3163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C367E5AF-A3EA-4A14-81F7-7AA6A96F1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12" y="2085976"/>
              <a:ext cx="850900" cy="481013"/>
            </a:xfrm>
            <a:custGeom>
              <a:avLst/>
              <a:gdLst>
                <a:gd name="T0" fmla="*/ 536 w 536"/>
                <a:gd name="T1" fmla="*/ 0 h 303"/>
                <a:gd name="T2" fmla="*/ 311 w 536"/>
                <a:gd name="T3" fmla="*/ 0 h 303"/>
                <a:gd name="T4" fmla="*/ 0 w 536"/>
                <a:gd name="T5" fmla="*/ 303 h 303"/>
                <a:gd name="T6" fmla="*/ 225 w 536"/>
                <a:gd name="T7" fmla="*/ 303 h 303"/>
                <a:gd name="T8" fmla="*/ 536 w 53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6" h="303">
                  <a:moveTo>
                    <a:pt x="536" y="0"/>
                  </a:moveTo>
                  <a:lnTo>
                    <a:pt x="311" y="0"/>
                  </a:lnTo>
                  <a:lnTo>
                    <a:pt x="0" y="303"/>
                  </a:lnTo>
                  <a:lnTo>
                    <a:pt x="225" y="303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rgbClr val="4B3D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4C08CA4-3635-4963-A5AF-014D653700FE}"/>
              </a:ext>
            </a:extLst>
          </p:cNvPr>
          <p:cNvSpPr txBox="1"/>
          <p:nvPr/>
        </p:nvSpPr>
        <p:spPr>
          <a:xfrm>
            <a:off x="4513567" y="2134834"/>
            <a:ext cx="7950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May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20BA9E-14ED-4A48-AD54-2898CF2B96E6}"/>
              </a:ext>
            </a:extLst>
          </p:cNvPr>
          <p:cNvGrpSpPr/>
          <p:nvPr/>
        </p:nvGrpSpPr>
        <p:grpSpPr>
          <a:xfrm>
            <a:off x="7382863" y="1857738"/>
            <a:ext cx="850900" cy="962026"/>
            <a:chOff x="1470312" y="1604963"/>
            <a:chExt cx="850900" cy="962026"/>
          </a:xfrm>
        </p:grpSpPr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B1588B9-01AF-4ECF-A8F6-A820B7042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949" y="1604963"/>
              <a:ext cx="576263" cy="481013"/>
            </a:xfrm>
            <a:custGeom>
              <a:avLst/>
              <a:gdLst>
                <a:gd name="T0" fmla="*/ 363 w 363"/>
                <a:gd name="T1" fmla="*/ 303 h 303"/>
                <a:gd name="T2" fmla="*/ 138 w 363"/>
                <a:gd name="T3" fmla="*/ 303 h 303"/>
                <a:gd name="T4" fmla="*/ 0 w 363"/>
                <a:gd name="T5" fmla="*/ 0 h 303"/>
                <a:gd name="T6" fmla="*/ 225 w 363"/>
                <a:gd name="T7" fmla="*/ 0 h 303"/>
                <a:gd name="T8" fmla="*/ 363 w 363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03">
                  <a:moveTo>
                    <a:pt x="363" y="303"/>
                  </a:moveTo>
                  <a:lnTo>
                    <a:pt x="138" y="303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363" y="303"/>
                  </a:lnTo>
                  <a:close/>
                </a:path>
              </a:pathLst>
            </a:custGeom>
            <a:solidFill>
              <a:srgbClr val="3163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1A7A7316-1222-47EC-992A-5FF198BC3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12" y="2085976"/>
              <a:ext cx="850900" cy="481013"/>
            </a:xfrm>
            <a:custGeom>
              <a:avLst/>
              <a:gdLst>
                <a:gd name="T0" fmla="*/ 536 w 536"/>
                <a:gd name="T1" fmla="*/ 0 h 303"/>
                <a:gd name="T2" fmla="*/ 311 w 536"/>
                <a:gd name="T3" fmla="*/ 0 h 303"/>
                <a:gd name="T4" fmla="*/ 0 w 536"/>
                <a:gd name="T5" fmla="*/ 303 h 303"/>
                <a:gd name="T6" fmla="*/ 225 w 536"/>
                <a:gd name="T7" fmla="*/ 303 h 303"/>
                <a:gd name="T8" fmla="*/ 536 w 53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6" h="303">
                  <a:moveTo>
                    <a:pt x="536" y="0"/>
                  </a:moveTo>
                  <a:lnTo>
                    <a:pt x="311" y="0"/>
                  </a:lnTo>
                  <a:lnTo>
                    <a:pt x="0" y="303"/>
                  </a:lnTo>
                  <a:lnTo>
                    <a:pt x="225" y="303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rgbClr val="4B3D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5E6D73D-90A2-4241-B0CC-CED75FD82F04}"/>
              </a:ext>
            </a:extLst>
          </p:cNvPr>
          <p:cNvSpPr txBox="1"/>
          <p:nvPr/>
        </p:nvSpPr>
        <p:spPr>
          <a:xfrm>
            <a:off x="6397221" y="2188226"/>
            <a:ext cx="7950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July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DA204ED-A214-4456-A92E-5E828E706B35}"/>
              </a:ext>
            </a:extLst>
          </p:cNvPr>
          <p:cNvGrpSpPr/>
          <p:nvPr/>
        </p:nvGrpSpPr>
        <p:grpSpPr>
          <a:xfrm>
            <a:off x="-7095" y="3315953"/>
            <a:ext cx="1584706" cy="2789196"/>
            <a:chOff x="420794" y="1544746"/>
            <a:chExt cx="1831206" cy="2551904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5BF1871-5EE1-4BFF-B8E2-8441EED9CB16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Inception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2781BA84-3676-402B-AA00-61A1413F5057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5"/>
              <a:ext cx="1831206" cy="211973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1600" b="1">
                  <a:latin typeface="VAG Rounded Std Thin" panose="020F0402020204020204" pitchFamily="34" charset="0"/>
                </a:rPr>
                <a:t>1</a:t>
              </a:r>
              <a:r>
                <a:rPr lang="en-US" sz="1600" b="1" baseline="30000">
                  <a:latin typeface="VAG Rounded Std Thin" panose="020F0402020204020204" pitchFamily="34" charset="0"/>
                </a:rPr>
                <a:t>st</a:t>
              </a:r>
              <a:r>
                <a:rPr lang="en-US" sz="1600" b="1">
                  <a:latin typeface="VAG Rounded Std Thin" panose="020F0402020204020204" pitchFamily="34" charset="0"/>
                </a:rPr>
                <a:t> Brainstorming Session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 panose="020F0402020204020204" pitchFamily="34" charset="0"/>
                </a:rPr>
                <a:t>Concept note developed</a:t>
              </a:r>
            </a:p>
            <a:p>
              <a:pPr>
                <a:lnSpc>
                  <a:spcPct val="150000"/>
                </a:lnSpc>
              </a:pPr>
              <a:endParaRPr lang="en-US" sz="1400">
                <a:latin typeface="VAG Rounded Std Thin" panose="020F0402020204020204" pitchFamily="34" charset="0"/>
              </a:endParaRPr>
            </a:p>
            <a:p>
              <a:pPr marL="298017" marR="24751" indent="-285750" defTabSz="554218">
                <a:lnSpc>
                  <a:spcPts val="1491"/>
                </a:lnSpc>
                <a:buFont typeface="Arial" panose="020B0604020202020204" pitchFamily="34" charset="0"/>
                <a:buChar char="•"/>
              </a:pPr>
              <a:r>
                <a:rPr lang="en-US" sz="1400" spc="-10">
                  <a:solidFill>
                    <a:srgbClr val="2F2F2A"/>
                  </a:solidFill>
                  <a:latin typeface="VAG Rounded Std Thin" panose="020F0402020204020204" pitchFamily="34" charset="0"/>
                  <a:cs typeface="Arial"/>
                </a:rPr>
                <a:t>WE_FI working group developed. 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8E4A182-0A51-4038-9B32-BCAFEF47D109}"/>
              </a:ext>
            </a:extLst>
          </p:cNvPr>
          <p:cNvGrpSpPr/>
          <p:nvPr/>
        </p:nvGrpSpPr>
        <p:grpSpPr>
          <a:xfrm>
            <a:off x="1712193" y="3315953"/>
            <a:ext cx="1709854" cy="1874972"/>
            <a:chOff x="420794" y="1544746"/>
            <a:chExt cx="1746173" cy="2100366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28692AD-8096-45F6-95C9-F79C3C43251F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Monthly Meetings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901CEE87-1399-40F2-896A-1384C7698C51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6"/>
              <a:ext cx="1746173" cy="166819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/>
                </a:rPr>
                <a:t>Workplan developed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spc="-10">
                  <a:solidFill>
                    <a:srgbClr val="2F2F2A"/>
                  </a:solidFill>
                  <a:latin typeface="VAG Rounded Std Thin"/>
                  <a:cs typeface="Arial"/>
                </a:rPr>
                <a:t>Sub working groups formed:</a:t>
              </a: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400" spc="-10">
                  <a:solidFill>
                    <a:srgbClr val="2F2F2A"/>
                  </a:solidFill>
                  <a:latin typeface="VAG Rounded Std Thin"/>
                  <a:cs typeface="Arial"/>
                </a:rPr>
                <a:t>Advocacy and governance</a:t>
              </a: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400" spc="-10">
                  <a:solidFill>
                    <a:srgbClr val="2F2F2A"/>
                  </a:solidFill>
                  <a:latin typeface="VAG Rounded Std Thin"/>
                  <a:cs typeface="Arial"/>
                </a:rPr>
                <a:t>Data and M&amp;E</a:t>
              </a: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400" spc="-10">
                  <a:solidFill>
                    <a:srgbClr val="2F2F2A"/>
                  </a:solidFill>
                  <a:latin typeface="VAG Rounded Std Thin"/>
                  <a:cs typeface="Arial"/>
                </a:rPr>
                <a:t>Brand and comms</a:t>
              </a: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400" spc="-10">
                  <a:solidFill>
                    <a:srgbClr val="2F2F2A"/>
                  </a:solidFill>
                  <a:latin typeface="VAG Rounded Std Thin"/>
                  <a:cs typeface="Arial"/>
                </a:rPr>
                <a:t>Products and Design</a:t>
              </a:r>
            </a:p>
            <a:p>
              <a:pPr>
                <a:lnSpc>
                  <a:spcPct val="150000"/>
                </a:lnSpc>
              </a:pPr>
              <a:endParaRPr lang="en-US" sz="1200" spc="-10">
                <a:solidFill>
                  <a:srgbClr val="2F2F2A"/>
                </a:solidFill>
                <a:latin typeface="VAG Rounded Std Thin"/>
                <a:cs typeface="Arial"/>
              </a:endParaRPr>
            </a:p>
            <a:p>
              <a:pPr>
                <a:lnSpc>
                  <a:spcPct val="150000"/>
                </a:lnSpc>
              </a:pPr>
              <a:endParaRPr lang="en-US" sz="1200" spc="-10">
                <a:solidFill>
                  <a:srgbClr val="2F2F2A"/>
                </a:solidFill>
                <a:latin typeface="VAG Rounded Std Thin"/>
                <a:cs typeface="Arial"/>
              </a:endParaRPr>
            </a:p>
            <a:p>
              <a:pPr lvl="1">
                <a:lnSpc>
                  <a:spcPct val="150000"/>
                </a:lnSpc>
              </a:pPr>
              <a:r>
                <a:rPr lang="en-US" sz="100" spc="-10">
                  <a:solidFill>
                    <a:srgbClr val="2F2F2A"/>
                  </a:solidFill>
                  <a:latin typeface="VAG Rounded Std Thin"/>
                  <a:cs typeface="Arial"/>
                </a:rPr>
                <a:t>A</a:t>
              </a:r>
              <a:endParaRPr lang="en-US" sz="100">
                <a:latin typeface="VAG Rounded Std Thin"/>
              </a:endParaRP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EC3AD3F-5594-4BAB-8256-9ACD37441FC8}"/>
              </a:ext>
            </a:extLst>
          </p:cNvPr>
          <p:cNvGrpSpPr/>
          <p:nvPr/>
        </p:nvGrpSpPr>
        <p:grpSpPr>
          <a:xfrm>
            <a:off x="3713854" y="3315953"/>
            <a:ext cx="2338704" cy="2743652"/>
            <a:chOff x="420794" y="1544746"/>
            <a:chExt cx="1831206" cy="2743652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F7D13D3-4F35-4D73-9F1F-E9AF23CCE8BB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Regional Peer Learning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83" name="Title 1">
              <a:extLst>
                <a:ext uri="{FF2B5EF4-FFF2-40B4-BE49-F238E27FC236}">
                  <a16:creationId xmlns:a16="http://schemas.microsoft.com/office/drawing/2014/main" id="{BA74F478-8C30-4504-A8C1-4534EEBD9372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6"/>
              <a:ext cx="1831206" cy="231148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/>
                </a:rPr>
                <a:t>Gender Learning Series by the FAW – Strategic Business case for serving WMSMEs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/>
                </a:rPr>
                <a:t>Kigali Summit and WE_FI study tour</a:t>
              </a: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2649C86E-5BD6-4E5C-BBC9-9878ACDC7275}"/>
              </a:ext>
            </a:extLst>
          </p:cNvPr>
          <p:cNvGrpSpPr/>
          <p:nvPr/>
        </p:nvGrpSpPr>
        <p:grpSpPr>
          <a:xfrm>
            <a:off x="6232400" y="3315953"/>
            <a:ext cx="2230105" cy="2100366"/>
            <a:chOff x="420794" y="1544746"/>
            <a:chExt cx="1746173" cy="2100366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37E7B96-BBD3-41F5-92CD-D06FD44EC73F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National Champion 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88" name="Title 1">
              <a:extLst>
                <a:ext uri="{FF2B5EF4-FFF2-40B4-BE49-F238E27FC236}">
                  <a16:creationId xmlns:a16="http://schemas.microsoft.com/office/drawing/2014/main" id="{99E5B2ED-BEF5-4F12-8C7A-BEE857AB2E7C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6"/>
              <a:ext cx="1746173" cy="166819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/>
                </a:rPr>
                <a:t>CBK Selected as the National Champion for WE-FI code, Kenya Chapter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>
                  <a:latin typeface="VAG Rounded Std Thin"/>
                </a:rPr>
                <a:t>WE_FI Kenya website created. (</a:t>
              </a:r>
              <a:r>
                <a:rPr lang="en-US" sz="1400">
                  <a:latin typeface="VAG Rounded Std Thin"/>
                  <a:hlinkClick r:id="rId3"/>
                </a:rPr>
                <a:t>WE-FI Kenya</a:t>
              </a:r>
              <a:r>
                <a:rPr lang="en-US" sz="1400">
                  <a:latin typeface="VAG Rounded Std Thin"/>
                </a:rPr>
                <a:t>)</a:t>
              </a: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CE8E6-20A4-9CA4-5536-679D83DFA5EC}"/>
              </a:ext>
            </a:extLst>
          </p:cNvPr>
          <p:cNvGrpSpPr/>
          <p:nvPr/>
        </p:nvGrpSpPr>
        <p:grpSpPr>
          <a:xfrm>
            <a:off x="9685930" y="1877005"/>
            <a:ext cx="850900" cy="962026"/>
            <a:chOff x="1470312" y="1604963"/>
            <a:chExt cx="850900" cy="962026"/>
          </a:xfrm>
        </p:grpSpPr>
        <p:sp>
          <p:nvSpPr>
            <p:cNvPr id="3" name="Freeform 7">
              <a:extLst>
                <a:ext uri="{FF2B5EF4-FFF2-40B4-BE49-F238E27FC236}">
                  <a16:creationId xmlns:a16="http://schemas.microsoft.com/office/drawing/2014/main" id="{EFBFA75B-F822-7A04-91D7-EF4383F96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949" y="1604963"/>
              <a:ext cx="576263" cy="481013"/>
            </a:xfrm>
            <a:custGeom>
              <a:avLst/>
              <a:gdLst>
                <a:gd name="T0" fmla="*/ 363 w 363"/>
                <a:gd name="T1" fmla="*/ 303 h 303"/>
                <a:gd name="T2" fmla="*/ 138 w 363"/>
                <a:gd name="T3" fmla="*/ 303 h 303"/>
                <a:gd name="T4" fmla="*/ 0 w 363"/>
                <a:gd name="T5" fmla="*/ 0 h 303"/>
                <a:gd name="T6" fmla="*/ 225 w 363"/>
                <a:gd name="T7" fmla="*/ 0 h 303"/>
                <a:gd name="T8" fmla="*/ 363 w 363"/>
                <a:gd name="T9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03">
                  <a:moveTo>
                    <a:pt x="363" y="303"/>
                  </a:moveTo>
                  <a:lnTo>
                    <a:pt x="138" y="303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363" y="303"/>
                  </a:lnTo>
                  <a:close/>
                </a:path>
              </a:pathLst>
            </a:custGeom>
            <a:solidFill>
              <a:srgbClr val="3163F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  <p:sp>
          <p:nvSpPr>
            <p:cNvPr id="4" name="Freeform 8">
              <a:extLst>
                <a:ext uri="{FF2B5EF4-FFF2-40B4-BE49-F238E27FC236}">
                  <a16:creationId xmlns:a16="http://schemas.microsoft.com/office/drawing/2014/main" id="{8199D0F7-854B-6E76-A8EE-63044EFE1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12" y="2085976"/>
              <a:ext cx="850900" cy="481013"/>
            </a:xfrm>
            <a:custGeom>
              <a:avLst/>
              <a:gdLst>
                <a:gd name="T0" fmla="*/ 536 w 536"/>
                <a:gd name="T1" fmla="*/ 0 h 303"/>
                <a:gd name="T2" fmla="*/ 311 w 536"/>
                <a:gd name="T3" fmla="*/ 0 h 303"/>
                <a:gd name="T4" fmla="*/ 0 w 536"/>
                <a:gd name="T5" fmla="*/ 303 h 303"/>
                <a:gd name="T6" fmla="*/ 225 w 536"/>
                <a:gd name="T7" fmla="*/ 303 h 303"/>
                <a:gd name="T8" fmla="*/ 536 w 53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6" h="303">
                  <a:moveTo>
                    <a:pt x="536" y="0"/>
                  </a:moveTo>
                  <a:lnTo>
                    <a:pt x="311" y="0"/>
                  </a:lnTo>
                  <a:lnTo>
                    <a:pt x="0" y="303"/>
                  </a:lnTo>
                  <a:lnTo>
                    <a:pt x="225" y="303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rgbClr val="4B3D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VAG Rounded Std Thin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9158E61-CC89-5EFD-3A92-AFE6C58B1E4D}"/>
              </a:ext>
            </a:extLst>
          </p:cNvPr>
          <p:cNvSpPr txBox="1"/>
          <p:nvPr/>
        </p:nvSpPr>
        <p:spPr>
          <a:xfrm>
            <a:off x="8930055" y="2158633"/>
            <a:ext cx="7950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Aug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EC3DEF-E9A3-69AD-6263-68D071AACA40}"/>
              </a:ext>
            </a:extLst>
          </p:cNvPr>
          <p:cNvGrpSpPr/>
          <p:nvPr/>
        </p:nvGrpSpPr>
        <p:grpSpPr>
          <a:xfrm>
            <a:off x="10498701" y="3327423"/>
            <a:ext cx="1522340" cy="2088896"/>
            <a:chOff x="420794" y="1544746"/>
            <a:chExt cx="1746173" cy="210036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D2181B-5F9E-A762-20BC-1949E26B75DE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Launch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18D36901-7AE9-8183-530B-92B9BA385362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6"/>
              <a:ext cx="1746173" cy="166819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1400">
                  <a:latin typeface="VAG Rounded Std Thin"/>
                </a:rPr>
                <a:t>WE-FI Code Kenya Launch</a:t>
              </a: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00A84D2-789F-49B3-1AA4-AB14920D7839}"/>
              </a:ext>
            </a:extLst>
          </p:cNvPr>
          <p:cNvSpPr txBox="1"/>
          <p:nvPr/>
        </p:nvSpPr>
        <p:spPr>
          <a:xfrm>
            <a:off x="11031373" y="2202454"/>
            <a:ext cx="7950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400" b="1" spc="-300">
                <a:solidFill>
                  <a:schemeClr val="bg1"/>
                </a:solidFill>
                <a:latin typeface="VAG Rounded Std Thin"/>
                <a:cs typeface="Segoe UI" panose="020B0502040204020203" pitchFamily="34" charset="0"/>
              </a:rPr>
              <a:t>Oct</a:t>
            </a:r>
            <a:endParaRPr lang="id-ID" sz="2400" b="1" spc="-300">
              <a:solidFill>
                <a:schemeClr val="bg1"/>
              </a:solidFill>
              <a:latin typeface="VAG Rounded Std Thin"/>
              <a:cs typeface="Segoe UI" panose="020B0502040204020203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E287B83-52E8-EC8B-8DEF-85EDE845EA68}"/>
              </a:ext>
            </a:extLst>
          </p:cNvPr>
          <p:cNvGrpSpPr/>
          <p:nvPr/>
        </p:nvGrpSpPr>
        <p:grpSpPr>
          <a:xfrm>
            <a:off x="8344351" y="3330712"/>
            <a:ext cx="2230105" cy="2100366"/>
            <a:chOff x="420794" y="1544746"/>
            <a:chExt cx="1746173" cy="210036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B8C137F-1405-A1BB-9F11-C83520E2A499}"/>
                </a:ext>
              </a:extLst>
            </p:cNvPr>
            <p:cNvSpPr txBox="1"/>
            <p:nvPr/>
          </p:nvSpPr>
          <p:spPr>
            <a:xfrm>
              <a:off x="420794" y="1544746"/>
              <a:ext cx="138358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b="1">
                  <a:latin typeface="VAG Rounded Std Thin"/>
                </a:rPr>
                <a:t>Pre-Launch</a:t>
              </a:r>
              <a:endParaRPr lang="id-ID" b="1">
                <a:latin typeface="VAG Rounded Std Thin"/>
              </a:endParaRPr>
            </a:p>
          </p:txBody>
        </p:sp>
        <p:sp>
          <p:nvSpPr>
            <p:cNvPr id="34" name="Title 1">
              <a:extLst>
                <a:ext uri="{FF2B5EF4-FFF2-40B4-BE49-F238E27FC236}">
                  <a16:creationId xmlns:a16="http://schemas.microsoft.com/office/drawing/2014/main" id="{15B1E4BE-614D-E02C-60B2-B7B48481AA52}"/>
                </a:ext>
              </a:extLst>
            </p:cNvPr>
            <p:cNvSpPr txBox="1">
              <a:spLocks/>
            </p:cNvSpPr>
            <p:nvPr/>
          </p:nvSpPr>
          <p:spPr>
            <a:xfrm>
              <a:off x="420794" y="1976916"/>
              <a:ext cx="1746173" cy="166819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1400">
                  <a:latin typeface="VAG Rounded Std Thin"/>
                </a:rPr>
                <a:t>Awareness workshop planned for 28</a:t>
              </a:r>
              <a:r>
                <a:rPr lang="en-US" sz="1400" baseline="30000">
                  <a:latin typeface="VAG Rounded Std Thin"/>
                </a:rPr>
                <a:t>th</a:t>
              </a:r>
              <a:r>
                <a:rPr lang="en-US" sz="1400">
                  <a:latin typeface="VAG Rounded Std Thin"/>
                </a:rPr>
                <a:t> August.</a:t>
              </a:r>
            </a:p>
            <a:p>
              <a:pPr>
                <a:lnSpc>
                  <a:spcPct val="150000"/>
                </a:lnSpc>
              </a:pPr>
              <a:endParaRPr lang="en-US" sz="1200">
                <a:latin typeface="VAG Rounded Std Thin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F17C2DC-3AE4-D5BB-DD18-7B454F60BF86}"/>
              </a:ext>
            </a:extLst>
          </p:cNvPr>
          <p:cNvSpPr txBox="1"/>
          <p:nvPr/>
        </p:nvSpPr>
        <p:spPr>
          <a:xfrm>
            <a:off x="1883397" y="251173"/>
            <a:ext cx="8077840" cy="433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</a:pPr>
            <a:r>
              <a:rPr lang="en-US" sz="2000" b="1" kern="100">
                <a:solidFill>
                  <a:srgbClr val="F69320"/>
                </a:solidFill>
                <a:latin typeface="VAG Rounded Std Thin" panose="020F0402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journey so far…</a:t>
            </a:r>
            <a:endParaRPr lang="en-US" sz="2000" kern="100">
              <a:solidFill>
                <a:srgbClr val="F69320"/>
              </a:solidFill>
              <a:effectLst/>
              <a:latin typeface="VAG Rounded Std Thin" panose="020F0402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1304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B3ECAC-1657-9488-23FE-451AAB4C37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81118" y="0"/>
            <a:ext cx="11496597" cy="898332"/>
          </a:xfrm>
        </p:spPr>
        <p:txBody>
          <a:bodyPr>
            <a:normAutofit/>
          </a:bodyPr>
          <a:lstStyle/>
          <a:p>
            <a:r>
              <a:rPr lang="en-GB" sz="2400">
                <a:solidFill>
                  <a:srgbClr val="F69320"/>
                </a:solidFill>
                <a:latin typeface="VAG Rounded Std Thin" panose="020F0402020204020204" pitchFamily="34" charset="0"/>
              </a:rPr>
              <a:t>WE Finance Code …</a:t>
            </a:r>
          </a:p>
          <a:p>
            <a:endParaRPr lang="en-GB" sz="2400">
              <a:solidFill>
                <a:srgbClr val="F69320"/>
              </a:solidFill>
              <a:latin typeface="VAG Rounded Std Thin" panose="020F0402020204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2AD218E6-99E0-6341-D892-AF47A295D1E6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726932566"/>
              </p:ext>
            </p:extLst>
          </p:nvPr>
        </p:nvGraphicFramePr>
        <p:xfrm>
          <a:off x="402145" y="895733"/>
          <a:ext cx="11394533" cy="5389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0156">
                  <a:extLst>
                    <a:ext uri="{9D8B030D-6E8A-4147-A177-3AD203B41FA5}">
                      <a16:colId xmlns:a16="http://schemas.microsoft.com/office/drawing/2014/main" val="749101750"/>
                    </a:ext>
                  </a:extLst>
                </a:gridCol>
                <a:gridCol w="8204377">
                  <a:extLst>
                    <a:ext uri="{9D8B030D-6E8A-4147-A177-3AD203B41FA5}">
                      <a16:colId xmlns:a16="http://schemas.microsoft.com/office/drawing/2014/main" val="861376229"/>
                    </a:ext>
                  </a:extLst>
                </a:gridCol>
              </a:tblGrid>
              <a:tr h="368034">
                <a:tc>
                  <a:txBody>
                    <a:bodyPr/>
                    <a:lstStyle/>
                    <a:p>
                      <a:endParaRPr lang="en-GB" sz="1600">
                        <a:latin typeface="VAG Rounded Std Thin" panose="020F0402020204020204" pitchFamily="34" charset="0"/>
                      </a:endParaRPr>
                    </a:p>
                  </a:txBody>
                  <a:tcPr marL="91428" marR="91428" marT="45714" marB="45714"/>
                </a:tc>
                <a:tc>
                  <a:txBody>
                    <a:bodyPr/>
                    <a:lstStyle/>
                    <a:p>
                      <a:endParaRPr lang="en-GB" sz="1600">
                        <a:latin typeface="VAG Rounded Std Thin" panose="020F0402020204020204" pitchFamily="34" charset="0"/>
                      </a:endParaRPr>
                    </a:p>
                  </a:txBody>
                  <a:tcPr marL="91428" marR="91428" marT="45714" marB="45714"/>
                </a:tc>
                <a:extLst>
                  <a:ext uri="{0D108BD9-81ED-4DB2-BD59-A6C34878D82A}">
                    <a16:rowId xmlns:a16="http://schemas.microsoft.com/office/drawing/2014/main" val="3443747502"/>
                  </a:ext>
                </a:extLst>
              </a:tr>
              <a:tr h="765406">
                <a:tc>
                  <a:txBody>
                    <a:bodyPr/>
                    <a:lstStyle/>
                    <a:p>
                      <a:endParaRPr lang="en-GB" sz="1600" b="1">
                        <a:latin typeface="VAG Rounded Std Thin" panose="020F0402020204020204" pitchFamily="34" charset="0"/>
                      </a:endParaRPr>
                    </a:p>
                    <a:p>
                      <a:endParaRPr lang="en-GB" sz="1600" b="1">
                        <a:latin typeface="VAG Rounded Std Thin" panose="020F0402020204020204" pitchFamily="34" charset="0"/>
                      </a:endParaRPr>
                    </a:p>
                    <a:p>
                      <a:r>
                        <a:rPr lang="en-GB" sz="1600" b="1">
                          <a:latin typeface="VAG Rounded Std Thin"/>
                        </a:rPr>
                        <a:t>What is the Women Entrepreneurs Finance Code (WE- Fi Code)?</a:t>
                      </a:r>
                    </a:p>
                  </a:txBody>
                  <a:tcPr marL="91428" marR="91428" marT="45714" marB="4571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VAG Rounded Std Thin"/>
                        </a:rPr>
                        <a:t>A voluntary commitment by financial sector leaders to close the gender gap in access to finance for women-led businesses.</a:t>
                      </a:r>
                      <a:endParaRPr lang="en-GB" sz="1600">
                        <a:latin typeface="VAG Rounded Std Thin"/>
                      </a:endParaRPr>
                    </a:p>
                  </a:txBody>
                  <a:tcPr marL="91428" marR="91428" marT="45714" marB="45714"/>
                </a:tc>
                <a:extLst>
                  <a:ext uri="{0D108BD9-81ED-4DB2-BD59-A6C34878D82A}">
                    <a16:rowId xmlns:a16="http://schemas.microsoft.com/office/drawing/2014/main" val="3509305417"/>
                  </a:ext>
                </a:extLst>
              </a:tr>
              <a:tr h="3446243">
                <a:tc>
                  <a:txBody>
                    <a:bodyPr/>
                    <a:lstStyle/>
                    <a:p>
                      <a:r>
                        <a:rPr lang="en-GB" sz="1600" b="1">
                          <a:latin typeface="VAG Rounded Std Thin"/>
                        </a:rPr>
                        <a:t>What does the Code entail?</a:t>
                      </a:r>
                    </a:p>
                  </a:txBody>
                  <a:tcPr marL="91428" marR="91428" marT="45714" marB="4571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latin typeface="VAG Rounded Std Thin"/>
                        </a:rPr>
                        <a:t>The Core of the Code is a simple commitment in three area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>
                        <a:latin typeface="VAG Rounded Std Thin" panose="020F0402020204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latin typeface="VAG Rounded Std Thin"/>
                        </a:rPr>
                        <a:t>Leadership: </a:t>
                      </a:r>
                      <a:r>
                        <a:rPr lang="en-US" sz="1600">
                          <a:latin typeface="VAG Rounded Std Thin"/>
                        </a:rPr>
                        <a:t>Public pledge from CEOs and boards to champion women’s financial inclusion. </a:t>
                      </a:r>
                      <a:r>
                        <a:rPr lang="en-US" sz="1600" b="1" spc="-3">
                          <a:solidFill>
                            <a:srgbClr val="F69320"/>
                          </a:solidFill>
                          <a:latin typeface="VAG Rounded Std Thin"/>
                          <a:cs typeface="Arial"/>
                        </a:rPr>
                        <a:t>Designate a senior leader to drive the efforts</a:t>
                      </a:r>
                      <a:r>
                        <a:rPr lang="en-US" sz="1600" b="1" spc="0">
                          <a:solidFill>
                            <a:srgbClr val="F69320"/>
                          </a:solidFill>
                          <a:latin typeface="VAG Rounded Std Thin"/>
                          <a:cs typeface="Arial"/>
                        </a:rPr>
                        <a:t>  </a:t>
                      </a:r>
                      <a:r>
                        <a:rPr lang="en-US" sz="1600" b="1" spc="-3">
                          <a:solidFill>
                            <a:srgbClr val="F69320"/>
                          </a:solidFill>
                          <a:latin typeface="VAG Rounded Std Thin"/>
                          <a:cs typeface="Arial"/>
                        </a:rPr>
                        <a:t>to support women-led businesses.</a:t>
                      </a:r>
                      <a:endParaRPr lang="en-US" sz="1600" b="1">
                        <a:solidFill>
                          <a:srgbClr val="F69320"/>
                        </a:solidFill>
                        <a:latin typeface="VAG Rounded Std Thin"/>
                      </a:endParaRPr>
                    </a:p>
                    <a:p>
                      <a:endParaRPr lang="en-US" sz="1600">
                        <a:latin typeface="VAG Rounded Std Thin" panose="020F0402020204020204" pitchFamily="34" charset="0"/>
                      </a:endParaRPr>
                    </a:p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US" sz="1600" b="1">
                          <a:latin typeface="VAG Rounded Std Thin"/>
                        </a:rPr>
                        <a:t>Data: </a:t>
                      </a:r>
                      <a:r>
                        <a:rPr lang="en-US" sz="1600">
                          <a:latin typeface="VAG Rounded Std Thin"/>
                        </a:rPr>
                        <a:t>Collect and report supply side sex-disaggregated MSME data to a national dashboard.</a:t>
                      </a:r>
                    </a:p>
                    <a:p>
                      <a:endParaRPr lang="en-US" sz="1600" b="1">
                        <a:latin typeface="VAG Rounded Std Thin" panose="020F0402020204020204" pitchFamily="34" charset="0"/>
                      </a:endParaRPr>
                    </a:p>
                    <a:p>
                      <a:r>
                        <a:rPr lang="en-US" sz="1600" b="1">
                          <a:latin typeface="VAG Rounded Std Thin" panose="020F0402020204020204" pitchFamily="34" charset="0"/>
                        </a:rPr>
                        <a:t>Action:  </a:t>
                      </a:r>
                      <a:r>
                        <a:rPr lang="en-US" sz="1600">
                          <a:latin typeface="VAG Rounded Std Thin" panose="020F0402020204020204" pitchFamily="34" charset="0"/>
                        </a:rPr>
                        <a:t>Use insights to design, pilot, and scale gender-smart products and services 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>
                          <a:latin typeface="VAG Rounded Std Thin"/>
                        </a:rPr>
                        <a:t>Develop new financial and non-financial services  for W-MSME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>
                          <a:latin typeface="VAG Rounded Std Thin"/>
                        </a:rPr>
                        <a:t>Increase volume of finance for W-MSMEs, inc. bonds, credit lines, equity, trade, etc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>
                          <a:latin typeface="VAG Rounded Std Thin"/>
                        </a:rPr>
                        <a:t>Establish business case, set targets, strategies, policies, standards to expand financing for women- led enterprises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>
                          <a:latin typeface="VAG Rounded Std Thin" panose="020F0402020204020204" pitchFamily="34" charset="0"/>
                        </a:rPr>
                        <a:t>Promote peer learning, document use cases.</a:t>
                      </a:r>
                    </a:p>
                  </a:txBody>
                  <a:tcPr marL="91428" marR="91428" marT="45714" marB="45714"/>
                </a:tc>
                <a:extLst>
                  <a:ext uri="{0D108BD9-81ED-4DB2-BD59-A6C34878D82A}">
                    <a16:rowId xmlns:a16="http://schemas.microsoft.com/office/drawing/2014/main" val="3675786938"/>
                  </a:ext>
                </a:extLst>
              </a:tr>
            </a:tbl>
          </a:graphicData>
        </a:graphic>
      </p:graphicFrame>
      <p:sp>
        <p:nvSpPr>
          <p:cNvPr id="2" name="object 17">
            <a:extLst>
              <a:ext uri="{FF2B5EF4-FFF2-40B4-BE49-F238E27FC236}">
                <a16:creationId xmlns:a16="http://schemas.microsoft.com/office/drawing/2014/main" id="{C95D25E0-164F-8516-FF83-D87B0DCA298D}"/>
              </a:ext>
            </a:extLst>
          </p:cNvPr>
          <p:cNvSpPr/>
          <p:nvPr/>
        </p:nvSpPr>
        <p:spPr>
          <a:xfrm>
            <a:off x="693083" y="3553369"/>
            <a:ext cx="2085213" cy="20275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1040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2F1EF3-1E4F-3F79-6FE9-45905078F3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0548" y="215577"/>
            <a:ext cx="10190768" cy="898449"/>
          </a:xfrm>
        </p:spPr>
        <p:txBody>
          <a:bodyPr>
            <a:normAutofit/>
          </a:bodyPr>
          <a:lstStyle/>
          <a:p>
            <a:r>
              <a:rPr lang="en-GB" sz="2800">
                <a:solidFill>
                  <a:srgbClr val="F69320"/>
                </a:solidFill>
                <a:latin typeface="VAG Rounded Std Thin" panose="020F0402020204020204" pitchFamily="34" charset="0"/>
              </a:rPr>
              <a:t>Indicators of interest…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298584B-C797-AC61-A7A9-B7DC9FD14903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03046" y="1138613"/>
            <a:ext cx="10444796" cy="5065471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ABA9728-6090-E6C6-A6A5-45ED90534568}"/>
              </a:ext>
            </a:extLst>
          </p:cNvPr>
          <p:cNvSpPr txBox="1"/>
          <p:nvPr/>
        </p:nvSpPr>
        <p:spPr>
          <a:xfrm>
            <a:off x="3538132" y="6357518"/>
            <a:ext cx="68756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54"/>
            <a:r>
              <a:rPr lang="en-GB" sz="1200" b="1" i="1">
                <a:solidFill>
                  <a:srgbClr val="000000"/>
                </a:solidFill>
                <a:latin typeface="Century Gothic"/>
              </a:rPr>
              <a:t>Adapted from the WE finance Code secretariat - </a:t>
            </a:r>
            <a:r>
              <a:rPr lang="en-GB" sz="1200" b="1" i="1">
                <a:solidFill>
                  <a:srgbClr val="000000"/>
                </a:solidFill>
                <a:latin typeface="Century Gothic"/>
                <a:hlinkClick r:id="rId3"/>
              </a:rPr>
              <a:t>https://www.we-fi.org/we-finance-code/</a:t>
            </a:r>
            <a:endParaRPr lang="en-GB" sz="1200" b="1" i="1">
              <a:solidFill>
                <a:srgbClr val="000000"/>
              </a:solidFill>
              <a:latin typeface="Century Gothic"/>
            </a:endParaRPr>
          </a:p>
          <a:p>
            <a:pPr defTabSz="228554"/>
            <a:endParaRPr lang="en-GB" sz="1200" b="1" i="1">
              <a:solidFill>
                <a:srgbClr val="00000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6476087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8394DF-E994-A2B4-0C37-623010492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149C82-8174-F623-9160-2CEBD054B9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265716"/>
            <a:ext cx="6034087" cy="18045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>
                <a:solidFill>
                  <a:srgbClr val="F69320"/>
                </a:solidFill>
                <a:latin typeface="VAG Rounded Std Thin" panose="020F0402020204020204" pitchFamily="34" charset="0"/>
              </a:rPr>
              <a:t>From data to products &amp; policies</a:t>
            </a:r>
          </a:p>
        </p:txBody>
      </p:sp>
      <p:pic>
        <p:nvPicPr>
          <p:cNvPr id="6" name="Picture Placeholder 5" descr="A person smiling at a cell phone&#10;&#10;Description automatically generated">
            <a:extLst>
              <a:ext uri="{FF2B5EF4-FFF2-40B4-BE49-F238E27FC236}">
                <a16:creationId xmlns:a16="http://schemas.microsoft.com/office/drawing/2014/main" id="{A084CE54-1D48-63BC-7C23-A1EFDCA84FD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34" b="6034"/>
          <a:stretch>
            <a:fillRect/>
          </a:stretch>
        </p:blipFill>
        <p:spPr>
          <a:xfrm>
            <a:off x="6994888" y="1008841"/>
            <a:ext cx="4664075" cy="5567883"/>
          </a:xfrm>
        </p:spPr>
      </p:pic>
    </p:spTree>
    <p:extLst>
      <p:ext uri="{BB962C8B-B14F-4D97-AF65-F5344CB8AC3E}">
        <p14:creationId xmlns:p14="http://schemas.microsoft.com/office/powerpoint/2010/main" val="30348399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2F1EF3-1E4F-3F79-6FE9-45905078F3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52210" y="233180"/>
            <a:ext cx="11141551" cy="706473"/>
          </a:xfrm>
        </p:spPr>
        <p:txBody>
          <a:bodyPr>
            <a:normAutofit/>
          </a:bodyPr>
          <a:lstStyle/>
          <a:p>
            <a:r>
              <a:rPr lang="en-GB" sz="2800">
                <a:solidFill>
                  <a:srgbClr val="F69320"/>
                </a:solidFill>
                <a:latin typeface="VAG Rounded Std Thin" panose="020F0402020204020204" pitchFamily="34" charset="0"/>
              </a:rPr>
              <a:t>Benefits of being part of the WE Finance Code for Kenya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8C7D8F9-1E66-8D81-232C-3A56172182F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694269" y="1212433"/>
            <a:ext cx="10570297" cy="4872305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D4BBA8-2465-230A-72D9-C71A6A674C9E}"/>
              </a:ext>
            </a:extLst>
          </p:cNvPr>
          <p:cNvSpPr txBox="1"/>
          <p:nvPr/>
        </p:nvSpPr>
        <p:spPr>
          <a:xfrm>
            <a:off x="3538132" y="6357518"/>
            <a:ext cx="68756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54"/>
            <a:r>
              <a:rPr lang="en-GB" sz="1200" b="1" i="1">
                <a:solidFill>
                  <a:srgbClr val="000000"/>
                </a:solidFill>
                <a:latin typeface="Century Gothic"/>
              </a:rPr>
              <a:t>Adapted from the WE finance Code secretariat - </a:t>
            </a:r>
            <a:r>
              <a:rPr lang="en-GB" sz="1200" b="1" i="1">
                <a:solidFill>
                  <a:srgbClr val="000000"/>
                </a:solidFill>
                <a:latin typeface="Century Gothic"/>
                <a:hlinkClick r:id="rId4"/>
              </a:rPr>
              <a:t>https://www.we-fi.org/we-finance-code/</a:t>
            </a:r>
            <a:endParaRPr lang="en-GB" sz="1200" b="1" i="1">
              <a:solidFill>
                <a:srgbClr val="000000"/>
              </a:solidFill>
              <a:latin typeface="Century Gothic"/>
            </a:endParaRPr>
          </a:p>
          <a:p>
            <a:pPr defTabSz="228554"/>
            <a:endParaRPr lang="en-GB" sz="1200" b="1" i="1">
              <a:solidFill>
                <a:srgbClr val="00000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644921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F5BB6-A6BF-447B-7D10-C1EC8746C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25E8D9DD-59A4-1EEE-1DD9-8A8A63B66ACE}"/>
              </a:ext>
            </a:extLst>
          </p:cNvPr>
          <p:cNvSpPr>
            <a:spLocks noChangeAspect="1"/>
          </p:cNvSpPr>
          <p:nvPr/>
        </p:nvSpPr>
        <p:spPr>
          <a:xfrm>
            <a:off x="3119478" y="831869"/>
            <a:ext cx="6291919" cy="5120640"/>
          </a:xfrm>
          <a:prstGeom prst="ellipse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endParaRPr lang="en-US" sz="1600" b="1" kern="1200">
              <a:solidFill>
                <a:srgbClr val="742454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42B890B-931C-E225-E32D-15DA01FD44F2}"/>
              </a:ext>
            </a:extLst>
          </p:cNvPr>
          <p:cNvCxnSpPr>
            <a:cxnSpLocks/>
            <a:endCxn id="7" idx="1"/>
          </p:cNvCxnSpPr>
          <p:nvPr/>
        </p:nvCxnSpPr>
        <p:spPr>
          <a:xfrm flipH="1">
            <a:off x="6326402" y="1818874"/>
            <a:ext cx="209943" cy="460519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FCAD421-045D-F8F4-7D67-718CF9161A7A}"/>
              </a:ext>
            </a:extLst>
          </p:cNvPr>
          <p:cNvCxnSpPr>
            <a:cxnSpLocks/>
          </p:cNvCxnSpPr>
          <p:nvPr/>
        </p:nvCxnSpPr>
        <p:spPr>
          <a:xfrm>
            <a:off x="6324313" y="1818874"/>
            <a:ext cx="1652342" cy="928542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52315FC-838D-9DF2-7FF1-297A1FAE244F}"/>
              </a:ext>
            </a:extLst>
          </p:cNvPr>
          <p:cNvCxnSpPr>
            <a:cxnSpLocks/>
          </p:cNvCxnSpPr>
          <p:nvPr/>
        </p:nvCxnSpPr>
        <p:spPr>
          <a:xfrm flipH="1">
            <a:off x="7960155" y="2747416"/>
            <a:ext cx="16500" cy="211705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1F26B96-FF9C-2162-6EF8-015D983AC1D5}"/>
              </a:ext>
            </a:extLst>
          </p:cNvPr>
          <p:cNvCxnSpPr>
            <a:cxnSpLocks/>
          </p:cNvCxnSpPr>
          <p:nvPr/>
        </p:nvCxnSpPr>
        <p:spPr>
          <a:xfrm flipH="1">
            <a:off x="4688472" y="4864466"/>
            <a:ext cx="3271683" cy="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641699B-0F33-A28A-EC75-9772A188EBC8}"/>
              </a:ext>
            </a:extLst>
          </p:cNvPr>
          <p:cNvCxnSpPr>
            <a:cxnSpLocks/>
          </p:cNvCxnSpPr>
          <p:nvPr/>
        </p:nvCxnSpPr>
        <p:spPr>
          <a:xfrm flipH="1" flipV="1">
            <a:off x="4671972" y="2747416"/>
            <a:ext cx="16500" cy="211705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4B71BDC-AAA3-9EA2-EBCF-D8BF1464B349}"/>
              </a:ext>
            </a:extLst>
          </p:cNvPr>
          <p:cNvCxnSpPr>
            <a:cxnSpLocks/>
          </p:cNvCxnSpPr>
          <p:nvPr/>
        </p:nvCxnSpPr>
        <p:spPr>
          <a:xfrm flipV="1">
            <a:off x="4671972" y="1818874"/>
            <a:ext cx="1652341" cy="928542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7DA924B-586D-AB6F-3F80-A3481A71D6A9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4884004" y="2747416"/>
            <a:ext cx="134252" cy="765751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9433AB9C-A0D1-B51B-82A5-F77D34882D8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4900504" y="4746940"/>
            <a:ext cx="1425898" cy="117526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3F27B21-9959-7E22-37C3-150825F2E231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6326402" y="4746940"/>
            <a:ext cx="1845785" cy="117526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ED1DEC3-A6D2-DBF2-DBA3-BA6761C8812A}"/>
              </a:ext>
            </a:extLst>
          </p:cNvPr>
          <p:cNvCxnSpPr>
            <a:cxnSpLocks/>
            <a:endCxn id="7" idx="2"/>
          </p:cNvCxnSpPr>
          <p:nvPr/>
        </p:nvCxnSpPr>
        <p:spPr>
          <a:xfrm flipH="1">
            <a:off x="7634548" y="2747416"/>
            <a:ext cx="554139" cy="765751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EB66006-EEC4-9A56-0DEB-BD051953555F}"/>
              </a:ext>
            </a:extLst>
          </p:cNvPr>
          <p:cNvCxnSpPr>
            <a:cxnSpLocks/>
          </p:cNvCxnSpPr>
          <p:nvPr/>
        </p:nvCxnSpPr>
        <p:spPr>
          <a:xfrm>
            <a:off x="6324313" y="1818874"/>
            <a:ext cx="1635842" cy="3045592"/>
          </a:xfrm>
          <a:prstGeom prst="straightConnector1">
            <a:avLst/>
          </a:prstGeom>
          <a:ln>
            <a:prstDash val="lgDash"/>
            <a:headEnd type="arrow" w="med" len="med"/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23C6604-F801-B4DB-643B-E8144FCA4E52}"/>
              </a:ext>
            </a:extLst>
          </p:cNvPr>
          <p:cNvCxnSpPr>
            <a:cxnSpLocks/>
          </p:cNvCxnSpPr>
          <p:nvPr/>
        </p:nvCxnSpPr>
        <p:spPr>
          <a:xfrm flipH="1">
            <a:off x="4688472" y="1818874"/>
            <a:ext cx="1635841" cy="3045592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67FFF93E-F732-07E6-E3E7-D5B44098EBA9}"/>
              </a:ext>
            </a:extLst>
          </p:cNvPr>
          <p:cNvCxnSpPr>
            <a:cxnSpLocks/>
          </p:cNvCxnSpPr>
          <p:nvPr/>
        </p:nvCxnSpPr>
        <p:spPr>
          <a:xfrm>
            <a:off x="4671972" y="2747416"/>
            <a:ext cx="3304683" cy="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765676F-0188-DD16-3491-A126850A647F}"/>
              </a:ext>
            </a:extLst>
          </p:cNvPr>
          <p:cNvCxnSpPr>
            <a:cxnSpLocks/>
          </p:cNvCxnSpPr>
          <p:nvPr/>
        </p:nvCxnSpPr>
        <p:spPr>
          <a:xfrm flipV="1">
            <a:off x="4688472" y="2747416"/>
            <a:ext cx="3288183" cy="211705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48166E1-6E94-80D9-AF96-92C03DBD83FF}"/>
              </a:ext>
            </a:extLst>
          </p:cNvPr>
          <p:cNvCxnSpPr>
            <a:cxnSpLocks/>
          </p:cNvCxnSpPr>
          <p:nvPr/>
        </p:nvCxnSpPr>
        <p:spPr>
          <a:xfrm flipH="1" flipV="1">
            <a:off x="4671972" y="2747416"/>
            <a:ext cx="3288183" cy="2117050"/>
          </a:xfrm>
          <a:prstGeom prst="straightConnector1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D43FA17-71F0-44BC-0D76-E76EA19995EC}"/>
              </a:ext>
            </a:extLst>
          </p:cNvPr>
          <p:cNvSpPr/>
          <p:nvPr/>
        </p:nvSpPr>
        <p:spPr>
          <a:xfrm>
            <a:off x="5018256" y="2279393"/>
            <a:ext cx="2616291" cy="2467546"/>
          </a:xfrm>
          <a:custGeom>
            <a:avLst/>
            <a:gdLst>
              <a:gd name="connsiteX0" fmla="*/ 0 w 1989009"/>
              <a:gd name="connsiteY0" fmla="*/ 994505 h 1989009"/>
              <a:gd name="connsiteX1" fmla="*/ 994505 w 1989009"/>
              <a:gd name="connsiteY1" fmla="*/ 0 h 1989009"/>
              <a:gd name="connsiteX2" fmla="*/ 1989010 w 1989009"/>
              <a:gd name="connsiteY2" fmla="*/ 994505 h 1989009"/>
              <a:gd name="connsiteX3" fmla="*/ 994505 w 1989009"/>
              <a:gd name="connsiteY3" fmla="*/ 1989010 h 1989009"/>
              <a:gd name="connsiteX4" fmla="*/ 0 w 1989009"/>
              <a:gd name="connsiteY4" fmla="*/ 994505 h 198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9009" h="1989009">
                <a:moveTo>
                  <a:pt x="0" y="994505"/>
                </a:moveTo>
                <a:cubicBezTo>
                  <a:pt x="0" y="445255"/>
                  <a:pt x="445255" y="0"/>
                  <a:pt x="994505" y="0"/>
                </a:cubicBezTo>
                <a:cubicBezTo>
                  <a:pt x="1543755" y="0"/>
                  <a:pt x="1989010" y="445255"/>
                  <a:pt x="1989010" y="994505"/>
                </a:cubicBezTo>
                <a:cubicBezTo>
                  <a:pt x="1989010" y="1543755"/>
                  <a:pt x="1543755" y="1989010"/>
                  <a:pt x="994505" y="1989010"/>
                </a:cubicBezTo>
                <a:cubicBezTo>
                  <a:pt x="445255" y="1989010"/>
                  <a:pt x="0" y="1543755"/>
                  <a:pt x="0" y="994505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1604" tIns="311604" rIns="311604" bIns="311604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/>
              <a:t>Women Entrepreneurs </a:t>
            </a:r>
            <a:r>
              <a:rPr lang="en-US" sz="1600" b="1" kern="1200"/>
              <a:t>Increase Capacity and Access Financing</a:t>
            </a:r>
            <a:endParaRPr lang="en-US" sz="1600" kern="12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085FECC-111B-3633-5767-DD07C4C49E7C}"/>
              </a:ext>
            </a:extLst>
          </p:cNvPr>
          <p:cNvSpPr/>
          <p:nvPr/>
        </p:nvSpPr>
        <p:spPr>
          <a:xfrm>
            <a:off x="4464182" y="451773"/>
            <a:ext cx="3566675" cy="16459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FSP’s</a:t>
            </a:r>
            <a:r>
              <a:rPr lang="en-US" sz="1600" kern="1200">
                <a:solidFill>
                  <a:srgbClr val="742454"/>
                </a:solidFill>
              </a:rPr>
              <a:t> </a:t>
            </a:r>
          </a:p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1600" kern="1200">
                <a:solidFill>
                  <a:srgbClr val="742454"/>
                </a:solidFill>
              </a:rPr>
              <a:t>improve targeting of WMSMEs and produce baseline data</a:t>
            </a:r>
            <a:endParaRPr lang="en-US" sz="1600" b="1" kern="1200">
              <a:solidFill>
                <a:srgbClr val="742454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CC8600B-79C3-18F8-DC06-0CE8B265A593}"/>
              </a:ext>
            </a:extLst>
          </p:cNvPr>
          <p:cNvSpPr/>
          <p:nvPr/>
        </p:nvSpPr>
        <p:spPr>
          <a:xfrm>
            <a:off x="7788135" y="2095935"/>
            <a:ext cx="3566675" cy="16459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Regulators</a:t>
            </a:r>
            <a:r>
              <a:rPr lang="en-US" sz="1600" kern="1200">
                <a:solidFill>
                  <a:srgbClr val="742454"/>
                </a:solidFill>
              </a:rPr>
              <a:t> </a:t>
            </a:r>
          </a:p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1600">
                <a:solidFill>
                  <a:srgbClr val="742454"/>
                </a:solidFill>
              </a:rPr>
              <a:t>Take </a:t>
            </a:r>
            <a:r>
              <a:rPr lang="en-US" sz="1600" kern="1200">
                <a:solidFill>
                  <a:srgbClr val="742454"/>
                </a:solidFill>
              </a:rPr>
              <a:t>action to set definitions and data collection standard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29ECAFB-0291-7726-88E6-C441AF0DFD3A}"/>
              </a:ext>
            </a:extLst>
          </p:cNvPr>
          <p:cNvSpPr/>
          <p:nvPr/>
        </p:nvSpPr>
        <p:spPr>
          <a:xfrm>
            <a:off x="6830890" y="4429874"/>
            <a:ext cx="3566675" cy="16459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Investors &amp; Donors</a:t>
            </a:r>
          </a:p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 </a:t>
            </a:r>
            <a:r>
              <a:rPr lang="en-US" sz="1600" kern="1200">
                <a:solidFill>
                  <a:srgbClr val="742454"/>
                </a:solidFill>
              </a:rPr>
              <a:t>Blended</a:t>
            </a:r>
            <a:r>
              <a:rPr lang="en-US" sz="1600" b="1" kern="1200">
                <a:solidFill>
                  <a:srgbClr val="742454"/>
                </a:solidFill>
              </a:rPr>
              <a:t> </a:t>
            </a:r>
            <a:r>
              <a:rPr lang="en-US" sz="1600" kern="1200">
                <a:solidFill>
                  <a:srgbClr val="742454"/>
                </a:solidFill>
              </a:rPr>
              <a:t>Finance</a:t>
            </a:r>
            <a:r>
              <a:rPr lang="en-US" sz="1600" b="1" kern="1200">
                <a:solidFill>
                  <a:srgbClr val="742454"/>
                </a:solidFill>
              </a:rPr>
              <a:t>  </a:t>
            </a:r>
            <a:r>
              <a:rPr lang="en-US" sz="1600" kern="1200">
                <a:solidFill>
                  <a:srgbClr val="742454"/>
                </a:solidFill>
              </a:rPr>
              <a:t>expand financing and TA to FSP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C79E79A-AF57-A9B6-D9CB-967AAB09D3B3}"/>
              </a:ext>
            </a:extLst>
          </p:cNvPr>
          <p:cNvSpPr/>
          <p:nvPr/>
        </p:nvSpPr>
        <p:spPr>
          <a:xfrm>
            <a:off x="2282077" y="4429875"/>
            <a:ext cx="3566675" cy="16459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Ecosystem Partners </a:t>
            </a:r>
          </a:p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1600" kern="1200">
                <a:solidFill>
                  <a:srgbClr val="742454"/>
                </a:solidFill>
              </a:rPr>
              <a:t>with </a:t>
            </a:r>
            <a:r>
              <a:rPr lang="en-US" sz="1600" b="1" kern="1200">
                <a:solidFill>
                  <a:srgbClr val="742454"/>
                </a:solidFill>
              </a:rPr>
              <a:t>donor</a:t>
            </a:r>
            <a:r>
              <a:rPr lang="en-US" sz="1600" kern="1200">
                <a:solidFill>
                  <a:srgbClr val="742454"/>
                </a:solidFill>
              </a:rPr>
              <a:t> support build readiness and pipeline of women entrepreneur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176119D-6AC2-388F-A4AD-808F3B42E792}"/>
              </a:ext>
            </a:extLst>
          </p:cNvPr>
          <p:cNvSpPr/>
          <p:nvPr/>
        </p:nvSpPr>
        <p:spPr>
          <a:xfrm>
            <a:off x="1292349" y="2140929"/>
            <a:ext cx="3566675" cy="16459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06524" rIns="0" bIns="30652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2400" b="1" kern="1200">
                <a:solidFill>
                  <a:srgbClr val="742454"/>
                </a:solidFill>
              </a:rPr>
              <a:t>Global partners</a:t>
            </a:r>
          </a:p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Symbol" panose="05050102010706020507" pitchFamily="18" charset="2"/>
              <a:buNone/>
            </a:pPr>
            <a:r>
              <a:rPr lang="en-US" sz="1600" kern="1200">
                <a:solidFill>
                  <a:srgbClr val="742454"/>
                </a:solidFill>
              </a:rPr>
              <a:t>support peer learning, research, analysis &amp; sharing good pract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887DC0-E2F2-1EE4-6B0B-EA102DE0A201}"/>
              </a:ext>
            </a:extLst>
          </p:cNvPr>
          <p:cNvSpPr txBox="1"/>
          <p:nvPr/>
        </p:nvSpPr>
        <p:spPr>
          <a:xfrm rot="2871237">
            <a:off x="8070571" y="1783403"/>
            <a:ext cx="2442035" cy="512742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r>
              <a:rPr lang="en-US" sz="2800" b="1" spc="600">
                <a:solidFill>
                  <a:srgbClr val="CF3D55"/>
                </a:solidFill>
              </a:rPr>
              <a:t>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CB9350-8AAF-ABA7-4867-23416EF0CE53}"/>
              </a:ext>
            </a:extLst>
          </p:cNvPr>
          <p:cNvSpPr txBox="1"/>
          <p:nvPr/>
        </p:nvSpPr>
        <p:spPr>
          <a:xfrm rot="19223988">
            <a:off x="2806641" y="1189561"/>
            <a:ext cx="2125272" cy="589164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449957"/>
              </a:avLst>
            </a:prstTxWarp>
            <a:spAutoFit/>
          </a:bodyPr>
          <a:lstStyle/>
          <a:p>
            <a:r>
              <a:rPr lang="en-US" sz="2800" b="1">
                <a:solidFill>
                  <a:srgbClr val="CF3D55"/>
                </a:solidFill>
              </a:rPr>
              <a:t>CHAMP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F9105-A236-9C64-BDE4-425AB6A6D4F5}"/>
              </a:ext>
            </a:extLst>
          </p:cNvPr>
          <p:cNvSpPr txBox="1"/>
          <p:nvPr/>
        </p:nvSpPr>
        <p:spPr>
          <a:xfrm rot="21346759">
            <a:off x="5521950" y="5958671"/>
            <a:ext cx="2442035" cy="512742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r>
              <a:rPr lang="en-US" sz="2800" b="1" spc="600">
                <a:solidFill>
                  <a:srgbClr val="CF3D55"/>
                </a:solidFill>
              </a:rPr>
              <a:t>AC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E8F18F-75B4-D3B4-0382-6E9F5498BDCC}"/>
              </a:ext>
            </a:extLst>
          </p:cNvPr>
          <p:cNvSpPr txBox="1"/>
          <p:nvPr/>
        </p:nvSpPr>
        <p:spPr>
          <a:xfrm>
            <a:off x="2392326" y="33956"/>
            <a:ext cx="75703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F69320"/>
                </a:solidFill>
                <a:latin typeface="VAG Rounded Std Thin" panose="020F0402020204020204" pitchFamily="34" charset="0"/>
              </a:rPr>
              <a:t>Women Entrepreneurs at the center of it all…</a:t>
            </a:r>
          </a:p>
        </p:txBody>
      </p:sp>
    </p:spTree>
    <p:extLst>
      <p:ext uri="{BB962C8B-B14F-4D97-AF65-F5344CB8AC3E}">
        <p14:creationId xmlns:p14="http://schemas.microsoft.com/office/powerpoint/2010/main" val="15404611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84A842-D205-209D-355E-EC74B0E123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5392" y="862341"/>
            <a:ext cx="10903647" cy="111745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GB" sz="2800">
                <a:solidFill>
                  <a:srgbClr val="F69320"/>
                </a:solidFill>
              </a:rPr>
              <a:t>In summary, we have come together to leverage the WE Finance code to have a framework that will enable…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9182969-1484-B741-2879-80AB1A6780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1189965"/>
              </p:ext>
            </p:extLst>
          </p:nvPr>
        </p:nvGraphicFramePr>
        <p:xfrm>
          <a:off x="262432" y="1262583"/>
          <a:ext cx="11929568" cy="6289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979033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84A842-D205-209D-355E-EC74B0E123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17739"/>
            <a:ext cx="12192000" cy="1376917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sz="4800">
                <a:solidFill>
                  <a:schemeClr val="tx1">
                    <a:lumMod val="75000"/>
                    <a:lumOff val="25000"/>
                  </a:schemeClr>
                </a:solidFill>
              </a:rPr>
              <a:t>Thank You</a:t>
            </a:r>
            <a:endParaRPr lang="en-GB" sz="48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F68360-E4F8-165C-8900-DBA011236AC1}"/>
              </a:ext>
            </a:extLst>
          </p:cNvPr>
          <p:cNvSpPr/>
          <p:nvPr/>
        </p:nvSpPr>
        <p:spPr>
          <a:xfrm>
            <a:off x="330157" y="6366551"/>
            <a:ext cx="3199983" cy="279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554"/>
            <a:endParaRPr lang="en-GB" sz="900">
              <a:solidFill>
                <a:srgbClr val="FFFFFF"/>
              </a:solidFill>
              <a:latin typeface="Century Gothic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892E3BE-755D-FF84-A292-51BD555D1296}"/>
              </a:ext>
            </a:extLst>
          </p:cNvPr>
          <p:cNvSpPr/>
          <p:nvPr/>
        </p:nvSpPr>
        <p:spPr>
          <a:xfrm>
            <a:off x="10776663" y="6017566"/>
            <a:ext cx="1085180" cy="696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554"/>
            <a:endParaRPr lang="en-GB" sz="900">
              <a:solidFill>
                <a:srgbClr val="FFFFFF"/>
              </a:solidFill>
              <a:latin typeface="Century Gothic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92DB47-E523-BE30-8C7D-C90AC5C06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988" y="2586818"/>
            <a:ext cx="3324184" cy="1491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A29FD5-E976-3DF7-2AD5-692E0816BB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57" b="27497"/>
          <a:stretch/>
        </p:blipFill>
        <p:spPr>
          <a:xfrm>
            <a:off x="6096000" y="2209003"/>
            <a:ext cx="4043497" cy="243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637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9DF98C-1DB1-E24D-7328-EE003BDEF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BBC5D6-F0EE-11FD-327A-BB1EC92CEA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146640"/>
            <a:ext cx="5576885" cy="157531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>
                <a:solidFill>
                  <a:srgbClr val="F69320"/>
                </a:solidFill>
                <a:latin typeface="VAG Rounded Std Thin" panose="020F0402020204020204" pitchFamily="34" charset="0"/>
              </a:rPr>
              <a:t>Why funding women matters</a:t>
            </a:r>
          </a:p>
        </p:txBody>
      </p:sp>
      <p:pic>
        <p:nvPicPr>
          <p:cNvPr id="6" name="Picture Placeholder 5" descr="A person smiling at a cell phone&#10;&#10;Description automatically generated">
            <a:extLst>
              <a:ext uri="{FF2B5EF4-FFF2-40B4-BE49-F238E27FC236}">
                <a16:creationId xmlns:a16="http://schemas.microsoft.com/office/drawing/2014/main" id="{A65B7A45-5362-9B91-7E5F-5F242D0F432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34" b="6034"/>
          <a:stretch>
            <a:fillRect/>
          </a:stretch>
        </p:blipFill>
        <p:spPr>
          <a:xfrm>
            <a:off x="6994888" y="1008841"/>
            <a:ext cx="4664075" cy="5567883"/>
          </a:xfrm>
        </p:spPr>
      </p:pic>
    </p:spTree>
    <p:extLst>
      <p:ext uri="{BB962C8B-B14F-4D97-AF65-F5344CB8AC3E}">
        <p14:creationId xmlns:p14="http://schemas.microsoft.com/office/powerpoint/2010/main" val="773085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4105529" y="2053488"/>
            <a:ext cx="4117721" cy="36850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058816" y="1140289"/>
            <a:ext cx="8592108" cy="330200"/>
          </a:xfrm>
          <a:prstGeom prst="rect">
            <a:avLst/>
          </a:prstGeom>
        </p:spPr>
        <p:txBody>
          <a:bodyPr wrap="square" lIns="0" tIns="16224" rIns="0" bIns="0" rtlCol="0">
            <a:noAutofit/>
          </a:bodyPr>
          <a:lstStyle/>
          <a:p>
            <a:pPr marL="12700" algn="ctr">
              <a:lnSpc>
                <a:spcPts val="2555"/>
              </a:lnSpc>
            </a:pPr>
            <a:r>
              <a:rPr sz="2400" b="1" spc="-1">
                <a:solidFill>
                  <a:schemeClr val="tx1">
                    <a:lumMod val="65000"/>
                    <a:lumOff val="35000"/>
                  </a:schemeClr>
                </a:solidFill>
                <a:latin typeface="VAG Rounded Std Thin" panose="020F0402020204020204" pitchFamily="34" charset="0"/>
                <a:cs typeface="Arial"/>
              </a:rPr>
              <a:t>Women in developing countries aspire to be entrepreneurs</a:t>
            </a:r>
            <a:r>
              <a:rPr lang="en-US" sz="2400" b="1" spc="-1">
                <a:solidFill>
                  <a:schemeClr val="tx1">
                    <a:lumMod val="65000"/>
                    <a:lumOff val="35000"/>
                  </a:schemeClr>
                </a:solidFill>
                <a:latin typeface="VAG Rounded Std Thin" panose="020F0402020204020204" pitchFamily="34" charset="0"/>
                <a:cs typeface="Arial"/>
              </a:rPr>
              <a:t> at similar rates as men</a:t>
            </a:r>
            <a:endParaRPr sz="2400">
              <a:solidFill>
                <a:schemeClr val="tx1">
                  <a:lumMod val="65000"/>
                  <a:lumOff val="35000"/>
                </a:schemeClr>
              </a:solidFill>
              <a:latin typeface="VAG Rounded Std Thin" panose="020F0402020204020204" pitchFamily="34" charset="0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71373" y="2030634"/>
            <a:ext cx="3814368" cy="695960"/>
          </a:xfrm>
          <a:prstGeom prst="rect">
            <a:avLst/>
          </a:prstGeom>
          <a:noFill/>
        </p:spPr>
        <p:txBody>
          <a:bodyPr wrap="square" lIns="0" tIns="16224" rIns="0" bIns="0" rtlCol="0">
            <a:noAutofit/>
          </a:bodyPr>
          <a:lstStyle/>
          <a:p>
            <a:pPr algn="ctr">
              <a:lnSpc>
                <a:spcPts val="2555"/>
              </a:lnSpc>
            </a:pPr>
            <a:r>
              <a:rPr sz="2400" b="1" spc="2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…yet they face significant</a:t>
            </a:r>
            <a:endParaRPr sz="240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1291107" marR="1317066" algn="ctr">
              <a:lnSpc>
                <a:spcPct val="95825"/>
              </a:lnSpc>
            </a:pPr>
            <a:r>
              <a: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barriers</a:t>
            </a:r>
            <a:endParaRPr sz="240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223631" y="2089054"/>
            <a:ext cx="3696996" cy="758865"/>
          </a:xfrm>
          <a:prstGeom prst="rect">
            <a:avLst/>
          </a:prstGeom>
        </p:spPr>
        <p:txBody>
          <a:bodyPr wrap="square" lIns="0" tIns="16224" rIns="0" bIns="0" rtlCol="0">
            <a:noAutofit/>
          </a:bodyPr>
          <a:lstStyle/>
          <a:p>
            <a:pPr marL="12700" marR="22859">
              <a:lnSpc>
                <a:spcPts val="2555"/>
              </a:lnSpc>
            </a:pPr>
            <a:r>
              <a:rPr sz="2400" b="1" spc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…that limit their ability</a:t>
            </a:r>
            <a:r>
              <a:rPr lang="en-US" sz="2400" b="1" spc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to </a:t>
            </a:r>
            <a:endParaRPr sz="240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78891" algn="ctr">
              <a:lnSpc>
                <a:spcPct val="95825"/>
              </a:lnSpc>
            </a:pPr>
            <a:r>
              <a: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realize their potential</a:t>
            </a:r>
            <a:endParaRPr sz="26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71373" y="2793898"/>
            <a:ext cx="3962871" cy="3080022"/>
          </a:xfrm>
          <a:prstGeom prst="rect">
            <a:avLst/>
          </a:prstGeom>
        </p:spPr>
        <p:txBody>
          <a:bodyPr wrap="square" lIns="0" tIns="12319" rIns="0" bIns="0" rtlCol="0" anchor="t">
            <a:noAutofit/>
          </a:bodyPr>
          <a:lstStyle/>
          <a:p>
            <a:pPr marL="298450" marR="33655" indent="-285750">
              <a:lnSpc>
                <a:spcPts val="1939"/>
              </a:lnSpc>
              <a:buFont typeface="Arial" panose="020B0604020202020204" pitchFamily="34" charset="0"/>
              <a:buChar char="•"/>
            </a:pPr>
            <a:r>
              <a:rPr lang="en-GB" sz="1600" spc="0">
                <a:latin typeface="VAG Rounded Std Thin"/>
                <a:cs typeface="Arial"/>
              </a:rPr>
              <a:t>Social norms (3-4 times free domestic labor), care burdens  (KNBS)</a:t>
            </a:r>
            <a:endParaRPr lang="en-GB" sz="1600">
              <a:latin typeface="VAG Rounded Std Thin"/>
              <a:cs typeface="Arial"/>
            </a:endParaRPr>
          </a:p>
          <a:p>
            <a:pPr marL="298450" marR="33655" indent="-285750">
              <a:lnSpc>
                <a:spcPct val="95825"/>
              </a:lnSpc>
              <a:spcBef>
                <a:spcPts val="1128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VAG Rounded Std Thin"/>
              </a:rPr>
              <a:t>Women own just 30% of agricultural land in SSA</a:t>
            </a:r>
          </a:p>
          <a:p>
            <a:pPr marL="298450" marR="33655" indent="-285750">
              <a:lnSpc>
                <a:spcPct val="95825"/>
              </a:lnSpc>
              <a:spcBef>
                <a:spcPts val="1128"/>
              </a:spcBef>
              <a:buFont typeface="Arial" panose="020B0604020202020204" pitchFamily="34" charset="0"/>
              <a:buChar char="•"/>
            </a:pPr>
            <a:r>
              <a:rPr sz="1600" spc="0">
                <a:latin typeface="VAG Rounded Std Thin"/>
                <a:cs typeface="Arial"/>
              </a:rPr>
              <a:t>75% of the legal rights</a:t>
            </a:r>
            <a:r>
              <a:rPr lang="en-US" sz="1600">
                <a:latin typeface="VAG Rounded Std Thin"/>
                <a:cs typeface="Arial"/>
              </a:rPr>
              <a:t> as</a:t>
            </a:r>
            <a:r>
              <a:rPr sz="1600" spc="0">
                <a:latin typeface="VAG Rounded Std Thin"/>
                <a:cs typeface="Arial"/>
              </a:rPr>
              <a:t> men</a:t>
            </a:r>
            <a:r>
              <a:rPr lang="en-US" sz="1600" spc="0">
                <a:latin typeface="VAG Rounded Std Thin"/>
                <a:cs typeface="Arial"/>
              </a:rPr>
              <a:t> (inheritance, property rights, GBV)</a:t>
            </a:r>
            <a:endParaRPr sz="1600">
              <a:latin typeface="VAG Rounded Std Thin"/>
              <a:cs typeface="Arial"/>
            </a:endParaRPr>
          </a:p>
          <a:p>
            <a:pPr marL="298450" marR="33655" indent="-285750">
              <a:lnSpc>
                <a:spcPct val="95825"/>
              </a:lnSpc>
              <a:spcBef>
                <a:spcPts val="1319"/>
              </a:spcBef>
              <a:buFont typeface="Arial" panose="020B0604020202020204" pitchFamily="34" charset="0"/>
              <a:buChar char="•"/>
            </a:pPr>
            <a:r>
              <a:rPr lang="en-GB" sz="1600" spc="-1">
                <a:latin typeface="VAG Rounded Std Thin"/>
                <a:cs typeface="Arial"/>
              </a:rPr>
              <a:t>2X more loan rejections</a:t>
            </a:r>
            <a:endParaRPr lang="en-GB" sz="1600">
              <a:latin typeface="VAG Rounded Std Thin"/>
              <a:cs typeface="Arial"/>
            </a:endParaRPr>
          </a:p>
          <a:p>
            <a:pPr marL="298450" indent="-285750">
              <a:lnSpc>
                <a:spcPct val="95825"/>
              </a:lnSpc>
              <a:spcBef>
                <a:spcPts val="1367"/>
              </a:spcBef>
              <a:buFont typeface="Arial" panose="020B0604020202020204" pitchFamily="34" charset="0"/>
              <a:buChar char="•"/>
            </a:pPr>
            <a:r>
              <a:rPr lang="en-GB" sz="1600" spc="0">
                <a:latin typeface="VAG Rounded Std Thin"/>
                <a:cs typeface="Arial"/>
              </a:rPr>
              <a:t>&lt; 2% of VC Funding to female teams</a:t>
            </a:r>
            <a:endParaRPr lang="en-GB" sz="1600">
              <a:latin typeface="VAG Rounded Std Thin"/>
              <a:cs typeface="Arial"/>
            </a:endParaRPr>
          </a:p>
          <a:p>
            <a:pPr marL="298450" marR="33655" indent="-285750">
              <a:lnSpc>
                <a:spcPct val="95825"/>
              </a:lnSpc>
              <a:spcBef>
                <a:spcPts val="1186"/>
              </a:spcBef>
              <a:buFont typeface="Arial" panose="020B0604020202020204" pitchFamily="34" charset="0"/>
              <a:buChar char="•"/>
            </a:pPr>
            <a:r>
              <a:rPr lang="en-GB" sz="1600" spc="0">
                <a:latin typeface="VAG Rounded Std Thin"/>
                <a:cs typeface="Arial"/>
              </a:rPr>
              <a:t>$1.7 trillion global financing gap, </a:t>
            </a:r>
            <a:r>
              <a:rPr lang="en-GB" sz="1600">
                <a:latin typeface="VAG Rounded Std Thin"/>
              </a:rPr>
              <a:t>$42 billion in Africa.</a:t>
            </a:r>
            <a:endParaRPr lang="en-GB" sz="1600">
              <a:latin typeface="VAG Rounded Std Thin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664956" y="4270549"/>
            <a:ext cx="2797789" cy="1192410"/>
          </a:xfrm>
          <a:prstGeom prst="rect">
            <a:avLst/>
          </a:prstGeom>
          <a:ln>
            <a:solidFill>
              <a:srgbClr val="F69320"/>
            </a:solidFill>
          </a:ln>
        </p:spPr>
        <p:txBody>
          <a:bodyPr wrap="square" lIns="0" tIns="17907" rIns="0" bIns="0" rtlCol="0">
            <a:noAutofit/>
          </a:bodyPr>
          <a:lstStyle/>
          <a:p>
            <a:pPr marL="1021590" marR="1022399" algn="ctr">
              <a:lnSpc>
                <a:spcPts val="2820"/>
              </a:lnSpc>
            </a:pPr>
            <a:r>
              <a:rPr sz="2650" b="1">
                <a:latin typeface="Arial"/>
                <a:cs typeface="Arial"/>
              </a:rPr>
              <a:t>36%</a:t>
            </a:r>
            <a:endParaRPr sz="2650">
              <a:latin typeface="Arial"/>
              <a:cs typeface="Arial"/>
            </a:endParaRPr>
          </a:p>
          <a:p>
            <a:pPr indent="0" algn="ctr">
              <a:lnSpc>
                <a:spcPct val="100041"/>
              </a:lnSpc>
            </a:pPr>
            <a:r>
              <a:rPr sz="1600">
                <a:latin typeface="VAG Rounded Std Thin" panose="020F0402020204020204" pitchFamily="34" charset="0"/>
                <a:cs typeface="Arial"/>
              </a:rPr>
              <a:t>Gap in </a:t>
            </a:r>
            <a:r>
              <a:rPr sz="1600" spc="-4">
                <a:latin typeface="VAG Rounded Std Thin" panose="020F0402020204020204" pitchFamily="34" charset="0"/>
                <a:cs typeface="Arial"/>
              </a:rPr>
              <a:t>g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ro</a:t>
            </a:r>
            <a:r>
              <a:rPr sz="1600" spc="-44">
                <a:latin typeface="VAG Rounded Std Thin" panose="020F0402020204020204" pitchFamily="34" charset="0"/>
                <a:cs typeface="Arial"/>
              </a:rPr>
              <a:t>w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th</a:t>
            </a:r>
            <a:r>
              <a:rPr sz="1600" spc="50">
                <a:latin typeface="VAG Rounded Std Thin" panose="020F0402020204020204" pitchFamily="34" charset="0"/>
                <a:cs typeface="Arial"/>
              </a:rPr>
              <a:t> 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-14">
                <a:latin typeface="VAG Rounded Std Thin" panose="020F0402020204020204" pitchFamily="34" charset="0"/>
                <a:cs typeface="Arial"/>
              </a:rPr>
              <a:t>x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p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ctations b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t</a:t>
            </a:r>
            <a:r>
              <a:rPr sz="1600" spc="-34">
                <a:latin typeface="VAG Rounded Std Thin" panose="020F0402020204020204" pitchFamily="34" charset="0"/>
                <a:cs typeface="Arial"/>
              </a:rPr>
              <a:t>w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n</a:t>
            </a:r>
            <a:r>
              <a:rPr sz="1600" spc="44">
                <a:latin typeface="VAG Rounded Std Thin" panose="020F0402020204020204" pitchFamily="34" charset="0"/>
                <a:cs typeface="Arial"/>
              </a:rPr>
              <a:t> 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fem</a:t>
            </a:r>
            <a:r>
              <a:rPr sz="1600" spc="-4">
                <a:latin typeface="VAG Rounded Std Thin" panose="020F0402020204020204" pitchFamily="34" charset="0"/>
                <a:cs typeface="Arial"/>
              </a:rPr>
              <a:t>a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le</a:t>
            </a:r>
            <a:r>
              <a:rPr sz="1600" spc="4">
                <a:latin typeface="VAG Rounded Std Thin" panose="020F0402020204020204" pitchFamily="34" charset="0"/>
                <a:cs typeface="Arial"/>
              </a:rPr>
              <a:t> 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a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n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d</a:t>
            </a:r>
            <a:r>
              <a:rPr sz="1600" spc="9">
                <a:latin typeface="VAG Rounded Std Thin" panose="020F0402020204020204" pitchFamily="34" charset="0"/>
                <a:cs typeface="Arial"/>
              </a:rPr>
              <a:t> 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ma</a:t>
            </a:r>
            <a:r>
              <a:rPr sz="1600" spc="-4">
                <a:latin typeface="VAG Rounded Std Thin" panose="020F0402020204020204" pitchFamily="34" charset="0"/>
                <a:cs typeface="Arial"/>
              </a:rPr>
              <a:t>l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e e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n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tre</a:t>
            </a:r>
            <a:r>
              <a:rPr sz="1600" spc="-4">
                <a:latin typeface="VAG Rounded Std Thin" panose="020F0402020204020204" pitchFamily="34" charset="0"/>
                <a:cs typeface="Arial"/>
              </a:rPr>
              <a:t>p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re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n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e</a:t>
            </a:r>
            <a:r>
              <a:rPr sz="1600" spc="-9">
                <a:latin typeface="VAG Rounded Std Thin" panose="020F0402020204020204" pitchFamily="34" charset="0"/>
                <a:cs typeface="Arial"/>
              </a:rPr>
              <a:t>u</a:t>
            </a:r>
            <a:r>
              <a:rPr sz="1600" spc="0">
                <a:latin typeface="VAG Rounded Std Thin" panose="020F0402020204020204" pitchFamily="34" charset="0"/>
                <a:cs typeface="Arial"/>
              </a:rPr>
              <a:t>rs</a:t>
            </a:r>
            <a:endParaRPr sz="1600">
              <a:latin typeface="VAG Rounded Std Thin" panose="020F0402020204020204" pitchFamily="34" charset="0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028122" y="6072971"/>
            <a:ext cx="7108879" cy="415859"/>
          </a:xfrm>
          <a:prstGeom prst="rect">
            <a:avLst/>
          </a:prstGeom>
        </p:spPr>
        <p:txBody>
          <a:bodyPr wrap="square" lIns="0" tIns="16224" rIns="0" bIns="0" rtlCol="0">
            <a:noAutofit/>
          </a:bodyPr>
          <a:lstStyle/>
          <a:p>
            <a:pPr marL="12700">
              <a:lnSpc>
                <a:spcPts val="2555"/>
              </a:lnSpc>
            </a:pPr>
            <a:r>
              <a:rPr lang="en-US" sz="2000" b="1" spc="-9">
                <a:solidFill>
                  <a:srgbClr val="F69320"/>
                </a:solidFill>
                <a:latin typeface="VAG Rounded Std Thin" panose="020F0402020204020204" pitchFamily="34" charset="0"/>
                <a:cs typeface="Arial"/>
              </a:rPr>
              <a:t>~ 5.6 Trillion is lost in value addition globally</a:t>
            </a:r>
            <a:endParaRPr sz="2000" b="1">
              <a:solidFill>
                <a:srgbClr val="F69320"/>
              </a:solidFill>
              <a:latin typeface="VAG Rounded Std Thin" panose="020F0402020204020204" pitchFamily="34" charset="0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10333" y="5805823"/>
            <a:ext cx="9969195" cy="330200"/>
          </a:xfrm>
          <a:prstGeom prst="rect">
            <a:avLst/>
          </a:prstGeom>
        </p:spPr>
        <p:txBody>
          <a:bodyPr wrap="square" lIns="0" tIns="16224" rIns="0" bIns="0" rtlCol="0">
            <a:noAutofit/>
          </a:bodyPr>
          <a:lstStyle/>
          <a:p>
            <a:pPr marL="12700">
              <a:lnSpc>
                <a:spcPts val="2555"/>
              </a:lnSpc>
            </a:pPr>
            <a:r>
              <a:rPr sz="2000" b="1" spc="0">
                <a:solidFill>
                  <a:srgbClr val="F69320"/>
                </a:solidFill>
                <a:latin typeface="VAG Rounded Std Thin" panose="020F0402020204020204" pitchFamily="34" charset="0"/>
                <a:cs typeface="Arial"/>
              </a:rPr>
              <a:t>$1.7 Trillion lost revenue opportunity for Financial Service Providers</a:t>
            </a:r>
            <a:endParaRPr sz="2000">
              <a:solidFill>
                <a:srgbClr val="F69320"/>
              </a:solidFill>
              <a:latin typeface="VAG Rounded Std Thin" panose="020F0402020204020204" pitchFamily="34" charset="0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1992737" y="6435424"/>
            <a:ext cx="186791" cy="254000"/>
          </a:xfrm>
          <a:prstGeom prst="rect">
            <a:avLst/>
          </a:prstGeom>
        </p:spPr>
        <p:txBody>
          <a:bodyPr wrap="square" lIns="0" tIns="12319" rIns="0" bIns="0" rtlCol="0">
            <a:noAutofit/>
          </a:bodyPr>
          <a:lstStyle/>
          <a:p>
            <a:pPr marL="12700">
              <a:lnSpc>
                <a:spcPts val="1939"/>
              </a:lnSpc>
            </a:pPr>
            <a:endParaRPr sz="1800"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BC8390-7E87-27AD-6122-B463BF5CD1DB}"/>
              </a:ext>
            </a:extLst>
          </p:cNvPr>
          <p:cNvSpPr txBox="1"/>
          <p:nvPr/>
        </p:nvSpPr>
        <p:spPr>
          <a:xfrm>
            <a:off x="1882527" y="0"/>
            <a:ext cx="8077840" cy="8456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800" b="1">
                <a:solidFill>
                  <a:srgbClr val="F69320"/>
                </a:solidFill>
                <a:latin typeface="VAG Rounded Std Thin" panose="020F0402020204020204" pitchFamily="34" charset="0"/>
              </a:rPr>
              <a:t>The Scope of the challenge…</a:t>
            </a:r>
          </a:p>
        </p:txBody>
      </p:sp>
      <p:sp>
        <p:nvSpPr>
          <p:cNvPr id="26" name="object 8">
            <a:extLst>
              <a:ext uri="{FF2B5EF4-FFF2-40B4-BE49-F238E27FC236}">
                <a16:creationId xmlns:a16="http://schemas.microsoft.com/office/drawing/2014/main" id="{FAAAD780-B36F-52BF-AD9D-2615CE659D45}"/>
              </a:ext>
            </a:extLst>
          </p:cNvPr>
          <p:cNvSpPr txBox="1"/>
          <p:nvPr/>
        </p:nvSpPr>
        <p:spPr>
          <a:xfrm>
            <a:off x="8664955" y="3024021"/>
            <a:ext cx="2797789" cy="1192410"/>
          </a:xfrm>
          <a:prstGeom prst="rect">
            <a:avLst/>
          </a:prstGeom>
          <a:ln>
            <a:solidFill>
              <a:srgbClr val="F69320"/>
            </a:solidFill>
          </a:ln>
        </p:spPr>
        <p:txBody>
          <a:bodyPr wrap="square" lIns="0" tIns="17907" rIns="0" bIns="0" rtlCol="0">
            <a:noAutofit/>
          </a:bodyPr>
          <a:lstStyle/>
          <a:p>
            <a:pPr marL="1021590" marR="1022399" algn="ctr">
              <a:lnSpc>
                <a:spcPts val="2820"/>
              </a:lnSpc>
            </a:pPr>
            <a:r>
              <a:rPr lang="en-US" sz="2650" b="1">
                <a:latin typeface="Arial"/>
                <a:cs typeface="Arial"/>
              </a:rPr>
              <a:t>25</a:t>
            </a:r>
            <a:r>
              <a:rPr sz="2650" b="1">
                <a:latin typeface="Arial"/>
                <a:cs typeface="Arial"/>
              </a:rPr>
              <a:t>%</a:t>
            </a:r>
            <a:endParaRPr sz="2650">
              <a:latin typeface="Arial"/>
              <a:cs typeface="Arial"/>
            </a:endParaRPr>
          </a:p>
          <a:p>
            <a:pPr indent="0" algn="ctr">
              <a:lnSpc>
                <a:spcPct val="100041"/>
              </a:lnSpc>
            </a:pPr>
            <a:r>
              <a:rPr lang="en-US" sz="1600">
                <a:latin typeface="VAG Rounded Std Thin" panose="020F0402020204020204" pitchFamily="34" charset="0"/>
                <a:cs typeface="Arial"/>
              </a:rPr>
              <a:t>Fewer Women start businesses than men</a:t>
            </a:r>
            <a:endParaRPr sz="1600">
              <a:latin typeface="VAG Rounded Std Thin" panose="020F0402020204020204" pitchFamily="34" charset="0"/>
              <a:cs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1D57F8-0E83-D911-788E-246A8D2414E6}"/>
              </a:ext>
            </a:extLst>
          </p:cNvPr>
          <p:cNvSpPr txBox="1"/>
          <p:nvPr/>
        </p:nvSpPr>
        <p:spPr>
          <a:xfrm>
            <a:off x="128016" y="6588193"/>
            <a:ext cx="94366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VAG Rounded Std Thin" panose="020F0402020204020204" pitchFamily="34" charset="0"/>
              </a:rPr>
              <a:t>Source: </a:t>
            </a:r>
            <a:r>
              <a:rPr lang="fr-FR" sz="800">
                <a:latin typeface="VAG Rounded Std Thin" panose="020F0402020204020204" pitchFamily="34" charset="0"/>
                <a:hlinkClick r:id="rId4"/>
              </a:rPr>
              <a:t>WE Finance Code | </a:t>
            </a:r>
            <a:r>
              <a:rPr lang="fr-FR" sz="800" err="1">
                <a:latin typeface="VAG Rounded Std Thin" panose="020F0402020204020204" pitchFamily="34" charset="0"/>
                <a:hlinkClick r:id="rId4"/>
              </a:rPr>
              <a:t>Women</a:t>
            </a:r>
            <a:r>
              <a:rPr lang="fr-FR" sz="800">
                <a:latin typeface="VAG Rounded Std Thin" panose="020F0402020204020204" pitchFamily="34" charset="0"/>
                <a:hlinkClick r:id="rId4"/>
              </a:rPr>
              <a:t> Entrepreneurs Finance Initiative</a:t>
            </a:r>
            <a:endParaRPr lang="en-US" sz="800">
              <a:latin typeface="VAG Rounded Std Thin" panose="020F0402020204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5E7D9-2B2D-3B98-345E-77161CC7E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iamond 12">
            <a:extLst>
              <a:ext uri="{FF2B5EF4-FFF2-40B4-BE49-F238E27FC236}">
                <a16:creationId xmlns:a16="http://schemas.microsoft.com/office/drawing/2014/main" id="{FA264C28-58F6-274E-0922-916FE2D77EAC}"/>
              </a:ext>
            </a:extLst>
          </p:cNvPr>
          <p:cNvSpPr/>
          <p:nvPr/>
        </p:nvSpPr>
        <p:spPr>
          <a:xfrm>
            <a:off x="3538386" y="2317249"/>
            <a:ext cx="2193208" cy="1974225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23B3300-6EF4-A178-F4E5-E0CD64A52724}"/>
              </a:ext>
            </a:extLst>
          </p:cNvPr>
          <p:cNvSpPr txBox="1"/>
          <p:nvPr/>
        </p:nvSpPr>
        <p:spPr>
          <a:xfrm>
            <a:off x="192479" y="842619"/>
            <a:ext cx="11727555" cy="49430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>
                <a:latin typeface="VAG Rounded Std Thin"/>
              </a:rPr>
              <a:t>Kenya has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~7.4 million MSMEs</a:t>
            </a:r>
            <a:r>
              <a:rPr lang="en-US">
                <a:latin typeface="VAG Rounded Std Thin"/>
              </a:rPr>
              <a:t>, forming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90%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 </a:t>
            </a:r>
            <a:r>
              <a:rPr lang="en-US">
                <a:latin typeface="VAG Rounded Std Thin"/>
              </a:rPr>
              <a:t>of the labor force (FSD Kenya)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latin typeface="VAG Rounded Std Thin"/>
              </a:rPr>
              <a:t>MSMEs are the backbone of jobs and growth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 b="1">
                <a:solidFill>
                  <a:srgbClr val="F69320"/>
                </a:solidFill>
                <a:latin typeface="VAG Rounded Std Thin"/>
              </a:rPr>
              <a:t>80% of MSMEs are unlicensed,</a:t>
            </a:r>
            <a:r>
              <a:rPr lang="en-US">
                <a:latin typeface="VAG Rounded Std Thin"/>
              </a:rPr>
              <a:t> restricting access to finance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 b="1">
                <a:solidFill>
                  <a:srgbClr val="F69320"/>
                </a:solidFill>
                <a:latin typeface="VAG Rounded Std Thin"/>
              </a:rPr>
              <a:t>Women lead 61%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 of these unlicensed enterprises</a:t>
            </a:r>
            <a:r>
              <a:rPr lang="en-US">
                <a:latin typeface="VAG Rounded Std Thin"/>
              </a:rPr>
              <a:t> ,more excluded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>
                <a:latin typeface="VAG Rounded Std Thin"/>
              </a:rPr>
              <a:t>Women own about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52%</a:t>
            </a:r>
            <a:r>
              <a:rPr lang="en-US">
                <a:latin typeface="VAG Rounded Std Thin"/>
              </a:rPr>
              <a:t> of MSMEs but access only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~36</a:t>
            </a:r>
            <a:r>
              <a:rPr lang="en-US">
                <a:latin typeface="VAG Rounded Std Thin"/>
              </a:rPr>
              <a:t>% of formal credit (CIS Kenya)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>
                <a:latin typeface="VAG Rounded Std Thin"/>
              </a:rPr>
              <a:t>This is despite women showing better repayment behavior (60+ 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DPD: </a:t>
            </a:r>
            <a:r>
              <a:rPr lang="en-US">
                <a:latin typeface="VAG Rounded Std Thin"/>
              </a:rPr>
              <a:t>4% women vs. 5% men)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 b="1">
                <a:solidFill>
                  <a:srgbClr val="F69320"/>
                </a:solidFill>
                <a:latin typeface="VAG Rounded Std Thin"/>
              </a:rPr>
              <a:t>54.9%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 </a:t>
            </a:r>
            <a:r>
              <a:rPr lang="en-US">
                <a:latin typeface="VAG Rounded Std Thin"/>
              </a:rPr>
              <a:t>of women-owned MSMEs close 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within the first </a:t>
            </a:r>
            <a:r>
              <a:rPr lang="en-US">
                <a:latin typeface="VAG Rounded Std Thin"/>
              </a:rPr>
              <a:t>year, often due to funding gaps and 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gender-related barriers </a:t>
            </a:r>
            <a:r>
              <a:rPr lang="en-US">
                <a:latin typeface="VAG Rounded Std Thin"/>
              </a:rPr>
              <a:t>(KNBS).</a:t>
            </a:r>
            <a:endParaRPr lang="en-US">
              <a:solidFill>
                <a:srgbClr val="000000"/>
              </a:solidFill>
              <a:latin typeface="VAG Rounded Std Thin"/>
            </a:endParaRPr>
          </a:p>
          <a:p>
            <a:pPr marL="742950" lvl="1" indent="-285750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latin typeface="VAG Rounded Std Thin"/>
              </a:rPr>
              <a:t>Structural barriers </a:t>
            </a:r>
            <a:endParaRPr lang="en-US">
              <a:latin typeface="VAG Rounded Std Thin"/>
            </a:endParaRP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latin typeface="VAG Rounded Std Thin"/>
              </a:rPr>
              <a:t>Rigid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 collateral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 requirements</a:t>
            </a:r>
            <a:r>
              <a:rPr lang="en-US">
                <a:latin typeface="VAG Rounded Std Thin"/>
              </a:rPr>
              <a:t>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latin typeface="VAG Rounded Std Thin"/>
              </a:rPr>
              <a:t>Lengthy, </a:t>
            </a:r>
            <a:r>
              <a:rPr lang="en-US">
                <a:solidFill>
                  <a:srgbClr val="000000"/>
                </a:solidFill>
                <a:latin typeface="VAG Rounded Std Thin"/>
              </a:rPr>
              <a:t>restrictive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loan procedures </a:t>
            </a:r>
            <a:r>
              <a:rPr lang="en-US">
                <a:latin typeface="VAG Rounded Std Thin"/>
              </a:rPr>
              <a:t>and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business registration</a:t>
            </a:r>
            <a:r>
              <a:rPr lang="en-US">
                <a:latin typeface="VAG Rounded Std Thin"/>
              </a:rPr>
              <a:t>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latin typeface="VAG Rounded Std Thin"/>
              </a:rPr>
              <a:t>Limited use of gender-disaggregated data in </a:t>
            </a:r>
            <a:r>
              <a:rPr lang="en-US" b="1">
                <a:solidFill>
                  <a:srgbClr val="F69320"/>
                </a:solidFill>
                <a:latin typeface="VAG Rounded Std Thin"/>
              </a:rPr>
              <a:t>credit decision-making.</a:t>
            </a:r>
            <a:endParaRPr lang="en-US" b="1">
              <a:solidFill>
                <a:srgbClr val="F69320"/>
              </a:solidFill>
              <a:latin typeface="VAG Rounded Std Thin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3910FB-75D4-E0C7-F5FC-91C9F6980379}"/>
              </a:ext>
            </a:extLst>
          </p:cNvPr>
          <p:cNvSpPr txBox="1"/>
          <p:nvPr/>
        </p:nvSpPr>
        <p:spPr>
          <a:xfrm>
            <a:off x="1882527" y="0"/>
            <a:ext cx="8077840" cy="8456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800" b="1">
                <a:solidFill>
                  <a:srgbClr val="F69320"/>
                </a:solidFill>
                <a:latin typeface="VAG Rounded Std Thin" panose="020F0402020204020204" pitchFamily="34" charset="0"/>
              </a:rPr>
              <a:t>The Kenyan Context…</a:t>
            </a:r>
          </a:p>
        </p:txBody>
      </p:sp>
    </p:spTree>
    <p:extLst>
      <p:ext uri="{BB962C8B-B14F-4D97-AF65-F5344CB8AC3E}">
        <p14:creationId xmlns:p14="http://schemas.microsoft.com/office/powerpoint/2010/main" val="2702357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8CB27-1514-685E-FF44-841A29816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BC19AB-376A-8783-6474-76BF9B2CB7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13" y="2789356"/>
            <a:ext cx="6777799" cy="18045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>
                <a:solidFill>
                  <a:srgbClr val="F69320"/>
                </a:solidFill>
                <a:latin typeface="VAG Rounded Std Thin" panose="020F0402020204020204" pitchFamily="34" charset="0"/>
              </a:rPr>
              <a:t>The power of gender-disaggregated data</a:t>
            </a:r>
          </a:p>
        </p:txBody>
      </p:sp>
      <p:pic>
        <p:nvPicPr>
          <p:cNvPr id="6" name="Picture Placeholder 5" descr="A person smiling at a cell phone&#10;&#10;Description automatically generated">
            <a:extLst>
              <a:ext uri="{FF2B5EF4-FFF2-40B4-BE49-F238E27FC236}">
                <a16:creationId xmlns:a16="http://schemas.microsoft.com/office/drawing/2014/main" id="{4A68F88C-54D1-41B5-AD97-564EB255EC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34" b="6034"/>
          <a:stretch>
            <a:fillRect/>
          </a:stretch>
        </p:blipFill>
        <p:spPr>
          <a:xfrm>
            <a:off x="6994888" y="1008841"/>
            <a:ext cx="4664075" cy="5567883"/>
          </a:xfrm>
        </p:spPr>
      </p:pic>
    </p:spTree>
    <p:extLst>
      <p:ext uri="{BB962C8B-B14F-4D97-AF65-F5344CB8AC3E}">
        <p14:creationId xmlns:p14="http://schemas.microsoft.com/office/powerpoint/2010/main" val="4112305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9A75921-E3BD-DAB5-B8BE-8DB4898EACF0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750897325"/>
              </p:ext>
            </p:extLst>
          </p:nvPr>
        </p:nvGraphicFramePr>
        <p:xfrm>
          <a:off x="80241" y="2133946"/>
          <a:ext cx="7523757" cy="4034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345BA4-01D3-A9E9-0EF1-480A0947CA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41761" y="231352"/>
            <a:ext cx="8708477" cy="795174"/>
          </a:xfrm>
        </p:spPr>
        <p:txBody>
          <a:bodyPr>
            <a:normAutofit/>
          </a:bodyPr>
          <a:lstStyle/>
          <a:p>
            <a:r>
              <a:rPr lang="en-GB" sz="2400">
                <a:solidFill>
                  <a:srgbClr val="F69320"/>
                </a:solidFill>
                <a:latin typeface="VAG Rounded Std Thin" panose="020F0402020204020204" pitchFamily="34" charset="0"/>
              </a:rPr>
              <a:t>Formal Access g</a:t>
            </a:r>
            <a:r>
              <a:rPr lang="en-US" sz="2400">
                <a:solidFill>
                  <a:srgbClr val="F69320"/>
                </a:solidFill>
                <a:latin typeface="VAG Rounded Std Thin" panose="020F0402020204020204" pitchFamily="34" charset="0"/>
              </a:rPr>
              <a:t>ender gap is closing, mainly driven by mobile money; but the formal/informal divide persists…</a:t>
            </a:r>
          </a:p>
          <a:p>
            <a:endParaRPr lang="en-KE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F95676A-5275-744F-2C19-8A305CED6F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912135"/>
              </p:ext>
            </p:extLst>
          </p:nvPr>
        </p:nvGraphicFramePr>
        <p:xfrm>
          <a:off x="7872984" y="2075688"/>
          <a:ext cx="3700272" cy="4153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E4088CC-3B08-3542-714F-01ABBBFA5815}"/>
              </a:ext>
            </a:extLst>
          </p:cNvPr>
          <p:cNvSpPr txBox="1"/>
          <p:nvPr/>
        </p:nvSpPr>
        <p:spPr>
          <a:xfrm>
            <a:off x="3162442" y="6386782"/>
            <a:ext cx="44368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>
                <a:latin typeface="VAG Rounded Std Thin"/>
              </a:rPr>
              <a:t>Base: Male population= 13,648,460; Female population = 14,493,609 </a:t>
            </a:r>
            <a:endParaRPr lang="en-KE" sz="1000" b="1">
              <a:latin typeface="VAG Rounded Std Thin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5A25E7-8098-6693-82A4-06E82BD7463B}"/>
              </a:ext>
            </a:extLst>
          </p:cNvPr>
          <p:cNvSpPr txBox="1"/>
          <p:nvPr/>
        </p:nvSpPr>
        <p:spPr>
          <a:xfrm>
            <a:off x="1349135" y="1421285"/>
            <a:ext cx="4677677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400" b="1">
                <a:solidFill>
                  <a:srgbClr val="002060"/>
                </a:solidFill>
                <a:latin typeface="VAG Rounded Std Thin"/>
              </a:rPr>
              <a:t>Account ownership by gender</a:t>
            </a:r>
          </a:p>
          <a:p>
            <a:pPr algn="ctr"/>
            <a:r>
              <a:rPr lang="en-GB" sz="1200" i="1">
                <a:latin typeface="VAG Rounded Std Thin"/>
              </a:rPr>
              <a:t>% of adults 18+ (2006-2024)</a:t>
            </a:r>
            <a:endParaRPr lang="en-KE" sz="1200" i="1">
              <a:latin typeface="VAG Rounded Std Thin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B25A10-D57C-6C76-01AE-5A4A420DA374}"/>
              </a:ext>
            </a:extLst>
          </p:cNvPr>
          <p:cNvSpPr txBox="1"/>
          <p:nvPr/>
        </p:nvSpPr>
        <p:spPr>
          <a:xfrm>
            <a:off x="7699248" y="1524501"/>
            <a:ext cx="4085236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400" b="1">
                <a:solidFill>
                  <a:srgbClr val="002060"/>
                </a:solidFill>
                <a:latin typeface="VAG Rounded Std Thin"/>
              </a:rPr>
              <a:t>Account ownership by type of account by gender</a:t>
            </a:r>
          </a:p>
          <a:p>
            <a:pPr algn="ctr"/>
            <a:r>
              <a:rPr lang="en-GB" sz="1200" i="1">
                <a:latin typeface="VAG Rounded Std Thin"/>
              </a:rPr>
              <a:t>% of adults 18+ (2024)</a:t>
            </a:r>
            <a:endParaRPr lang="en-KE" sz="1200" i="1">
              <a:latin typeface="VAG Rounded Std Thin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1B5D887C-C122-A44A-F1A4-C7C6E6B43968}"/>
              </a:ext>
            </a:extLst>
          </p:cNvPr>
          <p:cNvSpPr txBox="1">
            <a:spLocks/>
          </p:cNvSpPr>
          <p:nvPr/>
        </p:nvSpPr>
        <p:spPr>
          <a:xfrm>
            <a:off x="551312" y="6373025"/>
            <a:ext cx="10947291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ZA" sz="1200">
                <a:solidFill>
                  <a:prstClr val="black"/>
                </a:solidFill>
                <a:latin typeface="VAG Rounded Std Thin"/>
                <a:ea typeface="Open Sans" panose="020B0606030504020204" pitchFamily="34" charset="0"/>
                <a:cs typeface="Open Sans" panose="020B0606030504020204" pitchFamily="34" charset="0"/>
              </a:rPr>
              <a:t>Source: FinAccess 2024</a:t>
            </a:r>
          </a:p>
        </p:txBody>
      </p:sp>
    </p:spTree>
    <p:extLst>
      <p:ext uri="{BB962C8B-B14F-4D97-AF65-F5344CB8AC3E}">
        <p14:creationId xmlns:p14="http://schemas.microsoft.com/office/powerpoint/2010/main" val="981349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5EBB4D-E02D-2D8E-600B-4E0515062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840" y="121383"/>
            <a:ext cx="8354568" cy="720035"/>
          </a:xfrm>
        </p:spPr>
        <p:txBody>
          <a:bodyPr>
            <a:normAutofit/>
          </a:bodyPr>
          <a:lstStyle/>
          <a:p>
            <a:r>
              <a:rPr lang="en-GB" sz="2800">
                <a:solidFill>
                  <a:srgbClr val="F69320"/>
                </a:solidFill>
                <a:latin typeface="VAG Rounded Std Thin" panose="020F0402020204020204" pitchFamily="34" charset="0"/>
              </a:rPr>
              <a:t>The Shape of the 2024 Gender Gap…</a:t>
            </a:r>
            <a:endParaRPr lang="en-KE" sz="2800">
              <a:solidFill>
                <a:srgbClr val="F69320"/>
              </a:solidFill>
              <a:latin typeface="VAG Rounded Std Thin" panose="020F04020202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4014B2-2BA7-C2CE-C7C8-51733F660F7D}"/>
              </a:ext>
            </a:extLst>
          </p:cNvPr>
          <p:cNvSpPr txBox="1"/>
          <p:nvPr/>
        </p:nvSpPr>
        <p:spPr>
          <a:xfrm>
            <a:off x="833360" y="1217569"/>
            <a:ext cx="3732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8903"/>
                </a:solidFill>
                <a:effectLst/>
                <a:uLnTx/>
                <a:uFillTx/>
                <a:latin typeface="VAG Rounded Std Thin"/>
              </a:rPr>
              <a:t>Formal financial inclusion gender gap</a:t>
            </a:r>
            <a:endParaRPr kumimoji="0" lang="en-KE" sz="1800" b="1" i="0" u="none" strike="noStrike" kern="1200" cap="none" spc="0" normalizeH="0" baseline="0" noProof="0">
              <a:ln>
                <a:noFill/>
              </a:ln>
              <a:solidFill>
                <a:srgbClr val="F18903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075719-9EE1-4FF1-E706-CD196971B2AB}"/>
              </a:ext>
            </a:extLst>
          </p:cNvPr>
          <p:cNvSpPr txBox="1"/>
          <p:nvPr/>
        </p:nvSpPr>
        <p:spPr>
          <a:xfrm>
            <a:off x="6428490" y="1217569"/>
            <a:ext cx="2847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18903"/>
                </a:solidFill>
                <a:effectLst/>
                <a:uLnTx/>
                <a:uFillTx/>
                <a:latin typeface="VAG Rounded Std Thin"/>
              </a:rPr>
              <a:t>Traditional bank gender gap</a:t>
            </a:r>
            <a:endParaRPr kumimoji="0" lang="en-KE" sz="1800" b="1" i="0" u="none" strike="noStrike" kern="1200" cap="none" spc="0" normalizeH="0" baseline="0" noProof="0">
              <a:ln>
                <a:noFill/>
              </a:ln>
              <a:solidFill>
                <a:srgbClr val="F18903"/>
              </a:solidFill>
              <a:effectLst/>
              <a:uLnTx/>
              <a:uFillTx/>
              <a:latin typeface="VAG Rounded Std Thin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2DB22D0-5A10-FD4D-6B84-99302CEA129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752" y="1581150"/>
            <a:ext cx="4791571" cy="4578350"/>
          </a:xfrm>
          <a:prstGeom prst="rect">
            <a:avLst/>
          </a:prstGeom>
        </p:spPr>
      </p:pic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C544D76-937A-3E39-B09B-CEE36C9CBF7C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8715" y="1581150"/>
            <a:ext cx="4797494" cy="4578350"/>
          </a:xfrm>
        </p:spPr>
      </p:pic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ADD788EC-CC59-26C7-FD69-7C2D65025721}"/>
              </a:ext>
            </a:extLst>
          </p:cNvPr>
          <p:cNvSpPr txBox="1">
            <a:spLocks/>
          </p:cNvSpPr>
          <p:nvPr/>
        </p:nvSpPr>
        <p:spPr>
          <a:xfrm>
            <a:off x="551312" y="6373025"/>
            <a:ext cx="10947291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44289"/>
                </a:solidFill>
                <a:latin typeface="VAG Rounded Std Thin" panose="020F0402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ZA" sz="1200">
                <a:solidFill>
                  <a:prstClr val="black"/>
                </a:solidFill>
                <a:latin typeface="VAG Rounded Std Thin"/>
                <a:ea typeface="Open Sans" panose="020B0606030504020204" pitchFamily="34" charset="0"/>
                <a:cs typeface="Open Sans" panose="020B0606030504020204" pitchFamily="34" charset="0"/>
              </a:rPr>
              <a:t>Source: FinAccess 2024</a:t>
            </a:r>
          </a:p>
        </p:txBody>
      </p:sp>
    </p:spTree>
    <p:extLst>
      <p:ext uri="{BB962C8B-B14F-4D97-AF65-F5344CB8AC3E}">
        <p14:creationId xmlns:p14="http://schemas.microsoft.com/office/powerpoint/2010/main" val="834074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C979B-D1BA-64E9-2FE3-F6A6E1947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CFD3E-B949-DAAB-6FD9-9AF54A351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4358" y="204150"/>
            <a:ext cx="9165206" cy="983523"/>
          </a:xfrm>
        </p:spPr>
        <p:txBody>
          <a:bodyPr>
            <a:noAutofit/>
          </a:bodyPr>
          <a:lstStyle/>
          <a:p>
            <a:r>
              <a:rPr lang="en-ZA" sz="2800">
                <a:latin typeface="VAG Rounded Std Thin"/>
              </a:rPr>
              <a:t>More women business owners than men, the</a:t>
            </a:r>
            <a:r>
              <a:rPr lang="en-ZA" sz="2800" b="1">
                <a:solidFill>
                  <a:srgbClr val="F69320"/>
                </a:solidFill>
                <a:latin typeface="VAG Rounded Std Thin"/>
              </a:rPr>
              <a:t> largest segments of business owners are aged between 26 – 35 years old..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04775D-B97B-98F1-9EBA-D4CBB2859A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1312" y="6373025"/>
            <a:ext cx="10947291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kumimoji="0" lang="en-ZA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ccess</a:t>
            </a: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 panose="020F04020202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24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E03B8D08-2490-BEE1-1B8F-5F05CA6BEE7A}"/>
              </a:ext>
            </a:extLst>
          </p:cNvPr>
          <p:cNvSpPr/>
          <p:nvPr/>
        </p:nvSpPr>
        <p:spPr>
          <a:xfrm>
            <a:off x="5150801" y="1818445"/>
            <a:ext cx="1671484" cy="1671484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962801-7D7E-6CC3-ED8D-9E56F75096E3}"/>
              </a:ext>
            </a:extLst>
          </p:cNvPr>
          <p:cNvSpPr txBox="1"/>
          <p:nvPr/>
        </p:nvSpPr>
        <p:spPr>
          <a:xfrm>
            <a:off x="2753990" y="1016913"/>
            <a:ext cx="67233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BUSINESS OWNER SEGMENTS – GENDER AND AGE: 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ACA8A-38F1-B0D4-283D-6321265975ED}"/>
              </a:ext>
            </a:extLst>
          </p:cNvPr>
          <p:cNvSpPr txBox="1"/>
          <p:nvPr/>
        </p:nvSpPr>
        <p:spPr>
          <a:xfrm>
            <a:off x="3125502" y="1362075"/>
            <a:ext cx="56449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(18+; main source of income is own business / self-employed, operational businesse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6A4382-0FDF-95FF-1A29-B1BBAEE78538}"/>
              </a:ext>
            </a:extLst>
          </p:cNvPr>
          <p:cNvSpPr txBox="1"/>
          <p:nvPr/>
        </p:nvSpPr>
        <p:spPr>
          <a:xfrm>
            <a:off x="5111841" y="2192616"/>
            <a:ext cx="1749404" cy="7232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3.77 Million: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Business owners with operational businesses</a:t>
            </a: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F6CB8FDA-5990-FE19-D6F3-A88819DE72EB}"/>
              </a:ext>
            </a:extLst>
          </p:cNvPr>
          <p:cNvSpPr/>
          <p:nvPr/>
        </p:nvSpPr>
        <p:spPr>
          <a:xfrm>
            <a:off x="2193120" y="3744449"/>
            <a:ext cx="932400" cy="932400"/>
          </a:xfrm>
          <a:prstGeom prst="flowChartConnector">
            <a:avLst/>
          </a:prstGeom>
          <a:solidFill>
            <a:srgbClr val="F69320"/>
          </a:solidFill>
          <a:ln>
            <a:solidFill>
              <a:srgbClr val="F69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A7645FA8-A9B1-67DD-86DA-B2B18443607F}"/>
              </a:ext>
            </a:extLst>
          </p:cNvPr>
          <p:cNvSpPr/>
          <p:nvPr/>
        </p:nvSpPr>
        <p:spPr>
          <a:xfrm>
            <a:off x="9343205" y="3756729"/>
            <a:ext cx="720000" cy="7200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F85CE7-3EE6-554B-63E8-AB31B4A4DDF1}"/>
              </a:ext>
            </a:extLst>
          </p:cNvPr>
          <p:cNvSpPr txBox="1"/>
          <p:nvPr/>
        </p:nvSpPr>
        <p:spPr>
          <a:xfrm>
            <a:off x="2279897" y="4089249"/>
            <a:ext cx="826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2.06 M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6E956E-4F67-A812-9F45-48649862EE29}"/>
              </a:ext>
            </a:extLst>
          </p:cNvPr>
          <p:cNvSpPr txBox="1"/>
          <p:nvPr/>
        </p:nvSpPr>
        <p:spPr>
          <a:xfrm>
            <a:off x="9331189" y="3995329"/>
            <a:ext cx="909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1.71 M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9ABDE5-BF87-DA2E-AFDD-DB1A2AF2FA95}"/>
              </a:ext>
            </a:extLst>
          </p:cNvPr>
          <p:cNvSpPr txBox="1"/>
          <p:nvPr/>
        </p:nvSpPr>
        <p:spPr>
          <a:xfrm>
            <a:off x="2305043" y="3507968"/>
            <a:ext cx="72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Fema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D9A177-2907-A388-18AB-76F9E26E2A9D}"/>
              </a:ext>
            </a:extLst>
          </p:cNvPr>
          <p:cNvSpPr txBox="1"/>
          <p:nvPr/>
        </p:nvSpPr>
        <p:spPr>
          <a:xfrm>
            <a:off x="9444821" y="3482732"/>
            <a:ext cx="597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Male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95D49956-43F7-7E09-94A3-23537920E381}"/>
              </a:ext>
            </a:extLst>
          </p:cNvPr>
          <p:cNvSpPr/>
          <p:nvPr/>
        </p:nvSpPr>
        <p:spPr>
          <a:xfrm>
            <a:off x="878389" y="5310049"/>
            <a:ext cx="511200" cy="51120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FE5AB1-49BD-C8CF-20CB-3D05F16082E3}"/>
              </a:ext>
            </a:extLst>
          </p:cNvPr>
          <p:cNvSpPr txBox="1"/>
          <p:nvPr/>
        </p:nvSpPr>
        <p:spPr>
          <a:xfrm>
            <a:off x="746022" y="5430897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298k</a:t>
            </a: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C9D5F3C-0BE7-3CF5-E405-A68998CEFD88}"/>
              </a:ext>
            </a:extLst>
          </p:cNvPr>
          <p:cNvCxnSpPr>
            <a:cxnSpLocks/>
          </p:cNvCxnSpPr>
          <p:nvPr/>
        </p:nvCxnSpPr>
        <p:spPr>
          <a:xfrm rot="5400000" flipH="1">
            <a:off x="4247907" y="1928746"/>
            <a:ext cx="14254" cy="3110586"/>
          </a:xfrm>
          <a:prstGeom prst="bentConnector3">
            <a:avLst>
              <a:gd name="adj1" fmla="val 3370759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7077ADE-6BC3-0820-D26A-685B3F6F8DB0}"/>
              </a:ext>
            </a:extLst>
          </p:cNvPr>
          <p:cNvCxnSpPr>
            <a:cxnSpLocks/>
          </p:cNvCxnSpPr>
          <p:nvPr/>
        </p:nvCxnSpPr>
        <p:spPr>
          <a:xfrm rot="5400000" flipH="1">
            <a:off x="7978578" y="1751445"/>
            <a:ext cx="17247" cy="3421645"/>
          </a:xfrm>
          <a:prstGeom prst="bentConnector3">
            <a:avLst>
              <a:gd name="adj1" fmla="val 273559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8F454366-AF39-7D1F-C31B-4909F2EB3BCE}"/>
              </a:ext>
            </a:extLst>
          </p:cNvPr>
          <p:cNvSpPr/>
          <p:nvPr/>
        </p:nvSpPr>
        <p:spPr>
          <a:xfrm>
            <a:off x="1876495" y="5310049"/>
            <a:ext cx="747676" cy="745268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E7EF55-A3AF-5ADA-1049-FE71C668CD3A}"/>
              </a:ext>
            </a:extLst>
          </p:cNvPr>
          <p:cNvSpPr txBox="1"/>
          <p:nvPr/>
        </p:nvSpPr>
        <p:spPr>
          <a:xfrm>
            <a:off x="1873249" y="5557695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791k</a:t>
            </a:r>
          </a:p>
        </p:txBody>
      </p:sp>
      <p:sp>
        <p:nvSpPr>
          <p:cNvPr id="54" name="Flowchart: Connector 53">
            <a:extLst>
              <a:ext uri="{FF2B5EF4-FFF2-40B4-BE49-F238E27FC236}">
                <a16:creationId xmlns:a16="http://schemas.microsoft.com/office/drawing/2014/main" id="{CA3EEAE0-B3DC-0CD6-C94F-B5A850A3DE75}"/>
              </a:ext>
            </a:extLst>
          </p:cNvPr>
          <p:cNvSpPr/>
          <p:nvPr/>
        </p:nvSpPr>
        <p:spPr>
          <a:xfrm>
            <a:off x="3049734" y="5319113"/>
            <a:ext cx="623892" cy="61377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9D2A1DE-413D-0A2E-C032-7B4AB20CC9A2}"/>
              </a:ext>
            </a:extLst>
          </p:cNvPr>
          <p:cNvSpPr txBox="1"/>
          <p:nvPr/>
        </p:nvSpPr>
        <p:spPr>
          <a:xfrm>
            <a:off x="2986219" y="5490473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548k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A0355AE-AFAF-B48F-AC6A-1193D3DDA2BE}"/>
              </a:ext>
            </a:extLst>
          </p:cNvPr>
          <p:cNvGrpSpPr/>
          <p:nvPr/>
        </p:nvGrpSpPr>
        <p:grpSpPr>
          <a:xfrm>
            <a:off x="7509231" y="4659730"/>
            <a:ext cx="4237862" cy="641277"/>
            <a:chOff x="8282119" y="4601636"/>
            <a:chExt cx="4237862" cy="641277"/>
          </a:xfrm>
        </p:grpSpPr>
        <p:sp>
          <p:nvSpPr>
            <p:cNvPr id="58" name="Right Brace 57">
              <a:extLst>
                <a:ext uri="{FF2B5EF4-FFF2-40B4-BE49-F238E27FC236}">
                  <a16:creationId xmlns:a16="http://schemas.microsoft.com/office/drawing/2014/main" id="{8014D85C-D29A-832D-D743-50951C485C4F}"/>
                </a:ext>
              </a:extLst>
            </p:cNvPr>
            <p:cNvSpPr/>
            <p:nvPr/>
          </p:nvSpPr>
          <p:spPr>
            <a:xfrm rot="16200000">
              <a:off x="10257698" y="3125795"/>
              <a:ext cx="334950" cy="3286632"/>
            </a:xfrm>
            <a:prstGeom prst="rightBrac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0945033-93DC-FBDC-3F8C-295080982B16}"/>
                </a:ext>
              </a:extLst>
            </p:cNvPr>
            <p:cNvSpPr txBox="1"/>
            <p:nvPr/>
          </p:nvSpPr>
          <p:spPr>
            <a:xfrm>
              <a:off x="8282119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18 - 25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985E2972-242C-DC79-E1EC-96DA8943D528}"/>
                </a:ext>
              </a:extLst>
            </p:cNvPr>
            <p:cNvSpPr txBox="1"/>
            <p:nvPr/>
          </p:nvSpPr>
          <p:spPr>
            <a:xfrm>
              <a:off x="9406762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26 - 35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23E5186-E48F-C1F3-B756-5CAF132F99F5}"/>
                </a:ext>
              </a:extLst>
            </p:cNvPr>
            <p:cNvSpPr txBox="1"/>
            <p:nvPr/>
          </p:nvSpPr>
          <p:spPr>
            <a:xfrm>
              <a:off x="10549511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36 - 45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A77584F-15C1-CC6D-3C17-C60028437A51}"/>
                </a:ext>
              </a:extLst>
            </p:cNvPr>
            <p:cNvSpPr txBox="1"/>
            <p:nvPr/>
          </p:nvSpPr>
          <p:spPr>
            <a:xfrm>
              <a:off x="11793901" y="4965914"/>
              <a:ext cx="726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AG Rounded Std Thin"/>
                </a:rPr>
                <a:t>46+</a:t>
              </a:r>
            </a:p>
          </p:txBody>
        </p:sp>
      </p:grpSp>
      <p:sp>
        <p:nvSpPr>
          <p:cNvPr id="100" name="Right Brace 99">
            <a:extLst>
              <a:ext uri="{FF2B5EF4-FFF2-40B4-BE49-F238E27FC236}">
                <a16:creationId xmlns:a16="http://schemas.microsoft.com/office/drawing/2014/main" id="{F4B36D58-0EFB-58A5-4B26-D9C8514E1CD1}"/>
              </a:ext>
            </a:extLst>
          </p:cNvPr>
          <p:cNvSpPr/>
          <p:nvPr/>
        </p:nvSpPr>
        <p:spPr>
          <a:xfrm rot="16200000">
            <a:off x="2499291" y="3201995"/>
            <a:ext cx="334950" cy="3286632"/>
          </a:xfrm>
          <a:prstGeom prst="rightBrac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F842409-7EAD-E8F8-D01C-48F36F238213}"/>
              </a:ext>
            </a:extLst>
          </p:cNvPr>
          <p:cNvSpPr txBox="1"/>
          <p:nvPr/>
        </p:nvSpPr>
        <p:spPr>
          <a:xfrm>
            <a:off x="940158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18 - 2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526BC31-2729-3227-F778-02463626597F}"/>
              </a:ext>
            </a:extLst>
          </p:cNvPr>
          <p:cNvSpPr txBox="1"/>
          <p:nvPr/>
        </p:nvSpPr>
        <p:spPr>
          <a:xfrm>
            <a:off x="1936764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26 - 35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2339DA4-F8C6-1408-CD45-EC29793D2143}"/>
              </a:ext>
            </a:extLst>
          </p:cNvPr>
          <p:cNvSpPr txBox="1"/>
          <p:nvPr/>
        </p:nvSpPr>
        <p:spPr>
          <a:xfrm>
            <a:off x="3040285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36 - 45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3A6ACC7-BB62-E4C9-E950-0EB09D815DD1}"/>
              </a:ext>
            </a:extLst>
          </p:cNvPr>
          <p:cNvSpPr txBox="1"/>
          <p:nvPr/>
        </p:nvSpPr>
        <p:spPr>
          <a:xfrm>
            <a:off x="4123975" y="5042114"/>
            <a:ext cx="726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AG Rounded Std Thin"/>
              </a:rPr>
              <a:t>46+</a:t>
            </a:r>
          </a:p>
        </p:txBody>
      </p:sp>
      <p:sp>
        <p:nvSpPr>
          <p:cNvPr id="107" name="Flowchart: Connector 106">
            <a:extLst>
              <a:ext uri="{FF2B5EF4-FFF2-40B4-BE49-F238E27FC236}">
                <a16:creationId xmlns:a16="http://schemas.microsoft.com/office/drawing/2014/main" id="{43790D2C-7604-CD77-9D6B-B16FFF6742EF}"/>
              </a:ext>
            </a:extLst>
          </p:cNvPr>
          <p:cNvSpPr/>
          <p:nvPr/>
        </p:nvSpPr>
        <p:spPr>
          <a:xfrm>
            <a:off x="4011269" y="5319113"/>
            <a:ext cx="623892" cy="593300"/>
          </a:xfrm>
          <a:prstGeom prst="flowChartConnector">
            <a:avLst/>
          </a:prstGeom>
          <a:solidFill>
            <a:srgbClr val="F6932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05154B8-6AD1-D973-5C0D-9E5AF5533C1A}"/>
              </a:ext>
            </a:extLst>
          </p:cNvPr>
          <p:cNvSpPr txBox="1"/>
          <p:nvPr/>
        </p:nvSpPr>
        <p:spPr>
          <a:xfrm>
            <a:off x="3947754" y="5480238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427k</a:t>
            </a:r>
          </a:p>
        </p:txBody>
      </p:sp>
      <p:sp>
        <p:nvSpPr>
          <p:cNvPr id="109" name="Flowchart: Connector 108">
            <a:extLst>
              <a:ext uri="{FF2B5EF4-FFF2-40B4-BE49-F238E27FC236}">
                <a16:creationId xmlns:a16="http://schemas.microsoft.com/office/drawing/2014/main" id="{913D722D-0262-7067-A4F5-2D4F3CFE9C7F}"/>
              </a:ext>
            </a:extLst>
          </p:cNvPr>
          <p:cNvSpPr/>
          <p:nvPr/>
        </p:nvSpPr>
        <p:spPr>
          <a:xfrm>
            <a:off x="7591347" y="5317598"/>
            <a:ext cx="511200" cy="5112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C918371-02DA-1698-5BFD-7ACDF1682EBC}"/>
              </a:ext>
            </a:extLst>
          </p:cNvPr>
          <p:cNvSpPr txBox="1"/>
          <p:nvPr/>
        </p:nvSpPr>
        <p:spPr>
          <a:xfrm>
            <a:off x="7469862" y="5438446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252k</a:t>
            </a:r>
          </a:p>
        </p:txBody>
      </p:sp>
      <p:sp>
        <p:nvSpPr>
          <p:cNvPr id="111" name="Flowchart: Connector 110">
            <a:extLst>
              <a:ext uri="{FF2B5EF4-FFF2-40B4-BE49-F238E27FC236}">
                <a16:creationId xmlns:a16="http://schemas.microsoft.com/office/drawing/2014/main" id="{5BAE2D57-6070-0AD1-D447-B3D1A637CFBA}"/>
              </a:ext>
            </a:extLst>
          </p:cNvPr>
          <p:cNvSpPr/>
          <p:nvPr/>
        </p:nvSpPr>
        <p:spPr>
          <a:xfrm>
            <a:off x="8592895" y="5258891"/>
            <a:ext cx="726080" cy="7200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5D67DA5-B14C-CBC9-264C-F740EFED1762}"/>
              </a:ext>
            </a:extLst>
          </p:cNvPr>
          <p:cNvSpPr txBox="1"/>
          <p:nvPr/>
        </p:nvSpPr>
        <p:spPr>
          <a:xfrm>
            <a:off x="8600535" y="5474710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666k</a:t>
            </a:r>
          </a:p>
        </p:txBody>
      </p:sp>
      <p:sp>
        <p:nvSpPr>
          <p:cNvPr id="113" name="Flowchart: Connector 112">
            <a:extLst>
              <a:ext uri="{FF2B5EF4-FFF2-40B4-BE49-F238E27FC236}">
                <a16:creationId xmlns:a16="http://schemas.microsoft.com/office/drawing/2014/main" id="{0B41A274-9A41-E85A-82FF-31E96259DCE8}"/>
              </a:ext>
            </a:extLst>
          </p:cNvPr>
          <p:cNvSpPr/>
          <p:nvPr/>
        </p:nvSpPr>
        <p:spPr>
          <a:xfrm>
            <a:off x="9798713" y="5326663"/>
            <a:ext cx="623892" cy="59330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225F864-614F-6957-1543-9A84F9CB8DD5}"/>
              </a:ext>
            </a:extLst>
          </p:cNvPr>
          <p:cNvSpPr txBox="1"/>
          <p:nvPr/>
        </p:nvSpPr>
        <p:spPr>
          <a:xfrm>
            <a:off x="9735198" y="5487788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427k</a:t>
            </a:r>
          </a:p>
        </p:txBody>
      </p:sp>
      <p:sp>
        <p:nvSpPr>
          <p:cNvPr id="115" name="Flowchart: Connector 114">
            <a:extLst>
              <a:ext uri="{FF2B5EF4-FFF2-40B4-BE49-F238E27FC236}">
                <a16:creationId xmlns:a16="http://schemas.microsoft.com/office/drawing/2014/main" id="{A0F89411-D125-7D5E-BF45-D95D3595A5DA}"/>
              </a:ext>
            </a:extLst>
          </p:cNvPr>
          <p:cNvSpPr/>
          <p:nvPr/>
        </p:nvSpPr>
        <p:spPr>
          <a:xfrm>
            <a:off x="10958122" y="5353789"/>
            <a:ext cx="540541" cy="517930"/>
          </a:xfrm>
          <a:prstGeom prst="flowChartConnector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2BAB8982-47B8-96E4-9904-73D8008822A6}"/>
              </a:ext>
            </a:extLst>
          </p:cNvPr>
          <p:cNvSpPr txBox="1"/>
          <p:nvPr/>
        </p:nvSpPr>
        <p:spPr>
          <a:xfrm>
            <a:off x="10845653" y="5477229"/>
            <a:ext cx="75092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AG Rounded Std Thin"/>
              </a:rPr>
              <a:t>363k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8C61E1-7380-7233-FBFA-A1F71CCB4233}"/>
              </a:ext>
            </a:extLst>
          </p:cNvPr>
          <p:cNvSpPr/>
          <p:nvPr/>
        </p:nvSpPr>
        <p:spPr>
          <a:xfrm>
            <a:off x="471648" y="3443253"/>
            <a:ext cx="4638174" cy="2811254"/>
          </a:xfrm>
          <a:prstGeom prst="roundRect">
            <a:avLst/>
          </a:prstGeom>
          <a:noFill/>
          <a:ln w="571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KE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AG Rounded Std Thin"/>
            </a:endParaRPr>
          </a:p>
        </p:txBody>
      </p:sp>
    </p:spTree>
    <p:extLst>
      <p:ext uri="{BB962C8B-B14F-4D97-AF65-F5344CB8AC3E}">
        <p14:creationId xmlns:p14="http://schemas.microsoft.com/office/powerpoint/2010/main" val="777849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activity xmlns="34c5b03b-5183-4e1e-8bc0-641131f3a4e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80BC86E97B3949897921E442B937E7" ma:contentTypeVersion="16" ma:contentTypeDescription="Create a new document." ma:contentTypeScope="" ma:versionID="efcc7fccbae56bb18bc51204b8bf7f78">
  <xsd:schema xmlns:xsd="http://www.w3.org/2001/XMLSchema" xmlns:xs="http://www.w3.org/2001/XMLSchema" xmlns:p="http://schemas.microsoft.com/office/2006/metadata/properties" xmlns:ns1="http://schemas.microsoft.com/sharepoint/v3" xmlns:ns3="34c5b03b-5183-4e1e-8bc0-641131f3a4e2" xmlns:ns4="ae4a8cf5-787d-43e1-84e4-2180f3fbbcbf" targetNamespace="http://schemas.microsoft.com/office/2006/metadata/properties" ma:root="true" ma:fieldsID="c7df3c2c571c831259bf135379d13cb8" ns1:_="" ns3:_="" ns4:_="">
    <xsd:import namespace="http://schemas.microsoft.com/sharepoint/v3"/>
    <xsd:import namespace="34c5b03b-5183-4e1e-8bc0-641131f3a4e2"/>
    <xsd:import namespace="ae4a8cf5-787d-43e1-84e4-2180f3fbbcb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DateTaken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c5b03b-5183-4e1e-8bc0-641131f3a4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0" nillable="true" ma:displayName="_activity" ma:hidden="true" ma:internalName="_activity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4a8cf5-787d-43e1-84e4-2180f3fbbcb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6A6027-0CD2-4EFD-A991-21DA6937FB9C}">
  <ds:schemaRefs>
    <ds:schemaRef ds:uri="34c5b03b-5183-4e1e-8bc0-641131f3a4e2"/>
    <ds:schemaRef ds:uri="ae4a8cf5-787d-43e1-84e4-2180f3fbbcb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2C2654-508A-40C4-AA12-FBB2BC46FEBD}">
  <ds:schemaRefs>
    <ds:schemaRef ds:uri="34c5b03b-5183-4e1e-8bc0-641131f3a4e2"/>
    <ds:schemaRef ds:uri="ae4a8cf5-787d-43e1-84e4-2180f3fbbcb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2195897-620F-473A-80B0-985B5DED6C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8</Slides>
  <Notes>1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Office Theme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Shape of the 2024 Gender Gap…</vt:lpstr>
      <vt:lpstr>More women business owners than men, the largest segments of business owners are aged between 26 – 35 years old...</vt:lpstr>
      <vt:lpstr>Bank account: 27% of women with operational businesses have bank accounts compared 45.3% of men business owners </vt:lpstr>
      <vt:lpstr>Male business owners have higher median monthly incomes…</vt:lpstr>
      <vt:lpstr>How might we help women MSMEs with financial solutions for investing?</vt:lpstr>
      <vt:lpstr>PowerPoint Presentation</vt:lpstr>
      <vt:lpstr>The Problem: The missing links in gender-smart finance…</vt:lpstr>
      <vt:lpstr>PowerPoint Presentation</vt:lpstr>
      <vt:lpstr>PowerPoint Presentation</vt:lpstr>
      <vt:lpstr>What We Track in the KBA–CRB Gender-Disaggregated Dashboard.</vt:lpstr>
      <vt:lpstr>What We Track ..continue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e M Waita</dc:creator>
  <cp:revision>1</cp:revision>
  <dcterms:created xsi:type="dcterms:W3CDTF">2022-10-04T02:33:27Z</dcterms:created>
  <dcterms:modified xsi:type="dcterms:W3CDTF">2025-08-19T06:5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80BC86E97B3949897921E442B937E7</vt:lpwstr>
  </property>
</Properties>
</file>